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  <p:sldMasterId id="2147483671" r:id="rId3"/>
  </p:sldMasterIdLst>
  <p:notesMasterIdLst>
    <p:notesMasterId r:id="rId15"/>
  </p:notesMasterIdLst>
  <p:handoutMasterIdLst>
    <p:handoutMasterId r:id="rId16"/>
  </p:handoutMasterIdLst>
  <p:sldIdLst>
    <p:sldId id="256" r:id="rId4"/>
    <p:sldId id="302" r:id="rId5"/>
    <p:sldId id="356" r:id="rId6"/>
    <p:sldId id="349" r:id="rId7"/>
    <p:sldId id="354" r:id="rId8"/>
    <p:sldId id="351" r:id="rId9"/>
    <p:sldId id="352" r:id="rId10"/>
    <p:sldId id="353" r:id="rId11"/>
    <p:sldId id="355" r:id="rId12"/>
    <p:sldId id="347" r:id="rId13"/>
    <p:sldId id="263" r:id="rId14"/>
  </p:sldIdLst>
  <p:sldSz cx="9144000" cy="5715000" type="screen16x10"/>
  <p:notesSz cx="6797675" cy="9928225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3" autoAdjust="0"/>
    <p:restoredTop sz="91880" autoAdjust="0"/>
  </p:normalViewPr>
  <p:slideViewPr>
    <p:cSldViewPr>
      <p:cViewPr>
        <p:scale>
          <a:sx n="100" d="100"/>
          <a:sy n="100" d="100"/>
        </p:scale>
        <p:origin x="-840" y="-132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2940" y="-108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1 </a:t>
            </a:r>
            <a:r>
              <a:rPr lang="en-US" sz="800" dirty="0" err="1" smtClean="0"/>
              <a:t>Capgemini</a:t>
            </a:r>
            <a:r>
              <a:rPr lang="en-US" sz="800" dirty="0" smtClean="0"/>
              <a:t>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smtClean="0"/>
          </a:p>
        </p:txBody>
      </p:sp>
    </p:spTree>
    <p:extLst>
      <p:ext uri="{BB962C8B-B14F-4D97-AF65-F5344CB8AC3E}">
        <p14:creationId xmlns:p14="http://schemas.microsoft.com/office/powerpoint/2010/main" xmlns="" val="81104104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2250" y="620713"/>
            <a:ext cx="6353175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907"/>
            <a:ext cx="6372865" cy="4591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1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874553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54227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07101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461328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15555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2250" y="620713"/>
            <a:ext cx="6353175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1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7" descr="shutterstock_30013249.jpg"/>
          <p:cNvPicPr>
            <a:picLocks noChangeAspect="1"/>
          </p:cNvPicPr>
          <p:nvPr userDrawn="1"/>
        </p:nvPicPr>
        <p:blipFill>
          <a:blip r:embed="rId3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</p:spPr>
        <p:txBody>
          <a:bodyPr lIns="276113" tIns="337471" rIns="30679" bIns="30679" anchor="t"/>
          <a:lstStyle>
            <a:lvl1pPr marL="0" indent="0" algn="l">
              <a:tabLst/>
              <a:defRPr sz="31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672418"/>
            <a:ext cx="7772400" cy="1135062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422261"/>
            <a:ext cx="7772400" cy="1250156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066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066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279261"/>
            <a:ext cx="4041531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1812396"/>
            <a:ext cx="4041531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1"/>
            <a:ext cx="3008435" cy="96837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27543"/>
            <a:ext cx="5111262" cy="487759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8"/>
            <a:ext cx="3008435" cy="39092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000500"/>
            <a:ext cx="5486400" cy="472282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510646"/>
            <a:ext cx="5486400" cy="3429000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472782"/>
            <a:ext cx="5486400" cy="6707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071551"/>
            <a:ext cx="9144000" cy="464345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76113" tIns="337471" rIns="30679" bIns="30679" numCol="1" anchor="t" anchorCtr="0" compatLnSpc="1">
            <a:prstTxWarp prst="textNoShape">
              <a:avLst/>
            </a:prstTxWarp>
          </a:bodyPr>
          <a:lstStyle>
            <a:lvl1pPr marL="0" indent="0" algn="l" defTabSz="77925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1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6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28866"/>
            <a:ext cx="6031523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75274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>
              <a:defRPr sz="31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6979089" y="4480292"/>
            <a:ext cx="21649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06792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500" b="0" dirty="0" smtClean="0">
                <a:solidFill>
                  <a:schemeClr val="bg1"/>
                </a:solidFill>
              </a:rPr>
              <a:t>www.se.capgemini.com</a:t>
            </a:r>
            <a:endParaRPr lang="en-US" sz="1500" b="0" dirty="0">
              <a:solidFill>
                <a:schemeClr val="bg1"/>
              </a:solidFill>
            </a:endParaRP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4" y="768339"/>
            <a:ext cx="4317023" cy="847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5494703"/>
            <a:ext cx="9144000" cy="220297"/>
          </a:xfrm>
          <a:prstGeom prst="rect">
            <a:avLst/>
          </a:prstGeom>
        </p:spPr>
        <p:txBody>
          <a:bodyPr lIns="77925" tIns="0" rIns="306792" bIns="153396" anchor="b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500" dirty="0">
                <a:solidFill>
                  <a:schemeClr val="bg1"/>
                </a:solidFill>
              </a:rPr>
              <a:t>The information contained in this presentation is </a:t>
            </a:r>
            <a:r>
              <a:rPr lang="en-US" sz="500" dirty="0" smtClean="0">
                <a:solidFill>
                  <a:schemeClr val="bg1"/>
                </a:solidFill>
              </a:rPr>
              <a:t>proprietary. ©2012 </a:t>
            </a:r>
            <a:r>
              <a:rPr lang="en-US" sz="500" dirty="0">
                <a:solidFill>
                  <a:schemeClr val="bg1"/>
                </a:solidFill>
              </a:rPr>
              <a:t>Capgemini. All rights reserved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68959" y="4046878"/>
            <a:ext cx="3511303" cy="327661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7" descr="shutterstock_30013249.jpg"/>
          <p:cNvPicPr>
            <a:picLocks noChangeAspect="1"/>
          </p:cNvPicPr>
          <p:nvPr userDrawn="1"/>
        </p:nvPicPr>
        <p:blipFill>
          <a:blip r:embed="rId2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75300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 defTabSz="779252" rtl="0" eaLnBrk="1" latinLnBrk="0" hangingPunct="1">
              <a:spcBef>
                <a:spcPct val="0"/>
              </a:spcBef>
              <a:buNone/>
              <a:defRPr lang="en-US" sz="31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3583940"/>
            <a:ext cx="9144000" cy="952500"/>
          </a:xfrm>
          <a:prstGeom prst="rect">
            <a:avLst/>
          </a:prstGeom>
        </p:spPr>
        <p:txBody>
          <a:bodyPr lIns="306792" tIns="38963" rIns="306792" bIns="38963" anchor="t"/>
          <a:lstStyle>
            <a:lvl1pPr algn="r" defTabSz="779252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1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1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020000"/>
            <a:ext cx="9144000" cy="990000"/>
          </a:xfrm>
        </p:spPr>
        <p:txBody>
          <a:bodyPr tIns="153396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19314"/>
            <a:ext cx="9144000" cy="2960688"/>
          </a:xfrm>
        </p:spPr>
        <p:txBody>
          <a:bodyPr/>
          <a:lstStyle>
            <a:lvl1pPr marL="225929" indent="-225929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r>
              <a:rPr lang="en-US" dirty="0" smtClean="0"/>
              <a:t> 2012-09-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199999"/>
            <a:ext cx="9144000" cy="3900000"/>
          </a:xfrm>
        </p:spPr>
        <p:txBody>
          <a:bodyPr/>
          <a:lstStyle>
            <a:lvl1pPr marL="232693" indent="-232693">
              <a:defRPr baseline="0">
                <a:solidFill>
                  <a:schemeClr val="tx1"/>
                </a:solidFill>
              </a:defRPr>
            </a:lvl1pPr>
            <a:lvl2pPr marL="453211" indent="-150169">
              <a:defRPr>
                <a:solidFill>
                  <a:schemeClr val="tx1"/>
                </a:solidFill>
              </a:defRPr>
            </a:lvl2pPr>
            <a:lvl3pPr marL="685904" indent="-151521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988947" indent="-22187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221640" indent="-151521"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>
            <a:lvl1pPr marL="608790" indent="-608790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26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751462"/>
            <a:ext cx="9144000" cy="335367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>
            <a:lvl1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7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5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6228" indent="-227282" algn="l" defTabSz="542500" rtl="0" eaLnBrk="0" fontAlgn="base" hangingPunct="0">
              <a:spcBef>
                <a:spcPct val="200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200001"/>
            <a:ext cx="9144000" cy="464561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2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r>
              <a:rPr lang="en-US" dirty="0" smtClean="0"/>
              <a:t> 2012-09-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66154" y="1200000"/>
            <a:ext cx="4320000" cy="386100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652308" y="1200000"/>
            <a:ext cx="4320000" cy="386100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r>
              <a:rPr lang="en-US" dirty="0" smtClean="0"/>
              <a:t> 2012-09-13</a:t>
            </a: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88970" y="1200000"/>
            <a:ext cx="4308297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baseline="0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8970" y="1744156"/>
            <a:ext cx="4308297" cy="329274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08260" y="1200000"/>
            <a:ext cx="4261470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708260" y="1744156"/>
            <a:ext cx="4261470" cy="329274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r>
              <a:rPr lang="en-US" dirty="0" smtClean="0"/>
              <a:t> 2012-09-13</a:t>
            </a:r>
            <a:endParaRPr lang="en-US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689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191608" cy="10292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7719892" y="5254625"/>
            <a:ext cx="1431443" cy="2171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0679" tIns="38963" rIns="61358" bIns="38963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9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9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34362" y="5460199"/>
            <a:ext cx="1102306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6357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r>
              <a:rPr lang="en-US" dirty="0" smtClean="0"/>
              <a:t> 2012-09-13</a:t>
            </a:r>
            <a:endParaRPr lang="en-US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332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 lIns="77925" tIns="38963" rIns="77925" bIns="38963"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332" y="1"/>
            <a:ext cx="3191608" cy="1029229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hdr="0"/>
  <p:txStyles>
    <p:titleStyle>
      <a:lvl1pPr marL="608790" indent="-608790" algn="ctr" defTabSz="779252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26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9987" indent="-229987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9975" indent="-142052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17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11496" indent="-151521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5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41484" indent="-150169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71471" indent="-150169" algn="l" defTabSz="608790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FE5A9D-E5D1-4AE2-93C8-AEF55FBA05A5}" type="datetimeFigureOut">
              <a:rPr lang="sv-SE" smtClean="0"/>
              <a:pPr/>
              <a:t>2013-09-02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  <p:sldLayoutId id="2147483681" r:id="rId5"/>
  </p:sldLayoutIdLst>
  <p:hf hdr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150959" y="2857438"/>
            <a:ext cx="4886325" cy="660136"/>
          </a:xfrm>
        </p:spPr>
        <p:txBody>
          <a:bodyPr/>
          <a:lstStyle/>
          <a:p>
            <a:r>
              <a:rPr lang="en-US" dirty="0" smtClean="0"/>
              <a:t>Andreas </a:t>
            </a:r>
            <a:r>
              <a:rPr lang="en-US" dirty="0" err="1" smtClean="0"/>
              <a:t>Enbohm</a:t>
            </a:r>
            <a:endParaRPr lang="en-US" dirty="0" smtClean="0"/>
          </a:p>
          <a:p>
            <a:r>
              <a:rPr lang="en-US" dirty="0" smtClean="0"/>
              <a:t>@</a:t>
            </a:r>
            <a:r>
              <a:rPr lang="en-US" dirty="0" err="1" smtClean="0"/>
              <a:t>enbohm</a:t>
            </a:r>
            <a:endParaRPr lang="en-US" dirty="0" smtClean="0"/>
          </a:p>
          <a:p>
            <a:r>
              <a:rPr lang="en-US" dirty="0" smtClean="0"/>
              <a:t>2013-09-11</a:t>
            </a:r>
            <a:endParaRPr lang="en-US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 tIns="368150" rIns="30679" bIns="30679"/>
          <a:lstStyle/>
          <a:p>
            <a:r>
              <a:rPr lang="en-US" sz="4600" dirty="0" smtClean="0"/>
              <a:t>Refactoring Legacy Code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Q &amp; A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977119" y="5607876"/>
            <a:ext cx="161343" cy="91564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0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67544" y="2497460"/>
            <a:ext cx="7909802" cy="1155905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pPr algn="ctr"/>
            <a:r>
              <a:rPr lang="sv-SE" sz="1400" dirty="0" smtClean="0"/>
              <a:t>             http</a:t>
            </a:r>
            <a:r>
              <a:rPr lang="sv-SE" sz="1400" dirty="0" smtClean="0"/>
              <a:t>://</a:t>
            </a:r>
            <a:r>
              <a:rPr lang="sv-SE" sz="1400" dirty="0" smtClean="0"/>
              <a:t>www.slideshare.net/enbohm</a:t>
            </a:r>
          </a:p>
          <a:p>
            <a:pPr algn="ctr"/>
            <a:endParaRPr lang="sv-SE" sz="1400" dirty="0"/>
          </a:p>
          <a:p>
            <a:r>
              <a:rPr lang="sv-SE" sz="1400" dirty="0" smtClean="0"/>
              <a:t>			    </a:t>
            </a:r>
            <a:r>
              <a:rPr lang="sv-SE" sz="1400" dirty="0" smtClean="0"/>
              <a:t>       @</a:t>
            </a:r>
            <a:r>
              <a:rPr lang="sv-SE" sz="1400" dirty="0" err="1" smtClean="0"/>
              <a:t>enbohm</a:t>
            </a:r>
            <a:endParaRPr lang="sv-SE" sz="1400" dirty="0" smtClean="0"/>
          </a:p>
          <a:p>
            <a:endParaRPr lang="sv-SE" sz="1400" dirty="0" smtClean="0"/>
          </a:p>
          <a:p>
            <a:r>
              <a:rPr lang="sv-SE" sz="1400" dirty="0" smtClean="0"/>
              <a:t>			</a:t>
            </a:r>
            <a:r>
              <a:rPr lang="sv-SE" sz="1400" dirty="0" smtClean="0"/>
              <a:t>   </a:t>
            </a:r>
            <a:r>
              <a:rPr lang="sv-SE" sz="1400" dirty="0" smtClean="0"/>
              <a:t>        https</a:t>
            </a:r>
            <a:r>
              <a:rPr lang="sv-SE" sz="1400" dirty="0" smtClean="0"/>
              <a:t>://github.com/enbohm</a:t>
            </a:r>
            <a:endParaRPr lang="sv-SE" sz="1400" dirty="0"/>
          </a:p>
        </p:txBody>
      </p:sp>
      <p:sp>
        <p:nvSpPr>
          <p:cNvPr id="33798" name="AutoShape 6" descr="data:image/jpeg;base64,/9j/4AAQSkZJRgABAQAAAQABAAD/2wCEAAkGBhQSEBQUEBMVFBQUFRQUFBUUFRgVFxQUFRQVFBUVFBQYHCYeFxkjGRQUHy8gIycpLCwsFR4xNTAqNSYrLCkBCQoKDgwOGg8PGiwkHxwsKSwsLCwpKSwqLCwsLCwsKSksLCwsLCksLCwsKSwpKSwsKSwsLCksLCksLCkpLCwpKf/AABEIALcBEwMBIgACEQEDEQH/xAAcAAABBQEBAQAAAAAAAAAAAAAEAAIDBQYBBwj/xABHEAABAwICBgYFBwoGAwEAAAABAAIDBBEhMQUGEhNBUSJhcYGRoTKxwdHwFCNCUnKSsgcVFkNTYnOCouEkM1TCw/Fjg+IX/8QAGwEAAwEBAQEBAAAAAAAAAAAAAQIDBAAFBwb/xAAyEQACAQIEAwUIAgMBAAAAAAAAAQIDEQQSITETQZEFFDJRcRVCYYGhseHwImIzUsHR/9oADAMBAAIRAxEAPwDy0NTg1ODVIGr6DGJ5LYxrU8NTwxSBivGIjkRhie1ilbGntYrJCOREI1II1K1ieGJibkRCNODFMI08RrhMxCGJwjU4jTxGuuK5EAjThGpxEniJdcXMDiNdEaJEa6I0LgzA4jXd0id2nCNdcXMC7pd3aK3aW6QudmBd0lukVukt2uuDMC7pLdIrdpGJdc7MBujXDGinx4LpjXXDmAzEmmNGGNNMaNw5gMxphjRpjTTEuuMpARjTDGjXRKN0a646kBlijdGjDGmGNAdSBN2kid2khYOYrWtTw1PaxStjUkijkMbGpWsUjY1I2NVSJuRG1ikbGpWxqRsaNybkRNjUjY1M2JSNjXXJuRAI04R4+PsRAjTmx4+PsQuK5EIjTxGiBEpBChmEzAojTxEihCniBK5oFwQRJwiRggTxTpXUQLgQiXRCjxTpwp0vFOANyluVYinXfk6XinalduUtyrH5Ou/Jl3FO1K3crm5Vl8nXDTruKdqVj4cCuGFWElPgUjAjxDiuMSYYlYmBMdCmUwXK8xJpjRzoVGYk2YNwJ0ajMaOMSY6NG46kAuiUbokcY0x0aOYdSAdhJFbpJdmGzlQ2NTMjTmsUzWIFXIY2NStjUjI1M2NG5JyI2xKVsalbGpWxIXJtkLY1I2NTtjUrYUuYm2DtiUjYce73ItlOpWQY9w9ZU3UOBWwKVtOjWU6mbTKMqp2UAbTqVtOrBlMpW0yi6w6iVzadSCmViKdPFOpusHKVzaZOFMrIU6cKdTdYNitFMnCm6lZfJ135Ol4obFZ8mS+TKz+TpbhdxTrFWaZcNMrT5OuGnR4oLFPNTdE9i46nVnUxAMcTkGuJ7gSnGnTKsdlKc06jdTq4dTqJ1OqKsK4lM6BROgVw+nUD6dWjVEcSpdCo3RKzfCoXQqyqC7Fc6JROjVg6JROjT5hkwDdpIvdpI5hrlKyNTsjTo2KdjEcxRsY2NTNiUjIlOyJK5E2yJkSmZCpo4UTHCkcxAdkCJjp0THAi46dZ51RkgOOmToqb50/YZ+J6s46dKKD5538OP8cqyyrFYxI2UylbTo5lOpm06zyrBsANp1I2mR7adStgUnVDYr20yeKZWAhThCpuqNlYAKdOFOjxCnCFJxQ5GACBd3CP3SW6Q4gcgBuEtwj9yubpdxAZAAwJpgVhuU0xI8Q7IU2koPmZf4cn4CpTAi9IRfNSfw3/AISuxx9Edg9SdVAZdAB0CidArN0SjdCqKoLYqnwId8Ct3RIaSNXjUFaKl8KHfCrWSNDPYtMahForXxKF0asHsUEjFZTAkA7pJEFqSfONYoY2IiNijjCKjCLmVaHxxomOJciai4mKbqCuIo4kVFCuxRoqONRlUFyiigRkVOuRMRsTVknMpFHI4UyGH5938KP8cyPY1MhZ/iH/AMKL8c6xymXjAlbCpGxIfSsVRsf4Qwh/HfNeR1W2SLHtuvNdaKrS8QvPJIxhNrwBjGY85GG47zdTTzcy0KDkepTObGNqRzWN5vIaPE4KkqdftHx32qqMkcGbUnhsAjzXidQ0uxlkdI45XJcfF3rwURpSMTiOOzmO7jbq8FTLTXik/kjTHCM9y0Lr5RVAFp2RvP6uU7Dr3wxdYG/UeK0oi818yUULpAMLDDE8iOAzPqWj0fXVdLjTVEjWjHZHSb/NEbgjsCSUabV4S6pj91ke97pRUtRHJfdSMk2SWu2HB1iMLG2WSyGouvM1VKIahkdyxzhIwFt9kfVuWnut2K41drDHT1kkj9oRVNbmA3COR5xI4n/pZG2mLwbaNF9ulVac1jpqMXqZmsPBuLnnsY27u+1l5rpjXOuqrhswgjPCFuzcfxCds9xAWUl0He52y5xzNr3PWb3K0QpxfikP3aXNHoj/AMs1LvtkRzGHZxk2QHbd+DC70bX61f6N/KBQTkBlS1rj9GUGI+LwAe4rwd1I8P2C2xILgSbCwIF+fdbiFLLSWtjfnbPu5quWjLZvoc8MfSrWgi4IIORGIPYVwxr570IKgPAoZZg4/RhLgT/K3A969Q0IdMNtvjA9v/mADvGE+sFTlTy7SIyo2NZWRXjeObH/AISo6ZvzbD+438IXZJjuzt2Dtk32SSL24EgEjuQ1HU/Mx/w4/wAAQimQcdAlzVC4KKSs60LJXK0Ysm4k8hQkpUEtf1oOXSHWFpjGwnCbCZLIeRwQUukRzVDpPXOGI22i93JmNu05BXVzlh2zRSSDmhZJgsdL+UFuNondWIQU+vhPoxeL/cE2dLmUWFkbczhJYL9OT+y/r/8AlJDjw8xu6y8iIa7MGTHnlkL+eCsaXXSAjpOLTYXBaczmLgcFgp6dzHFr2lrmmxBFiDyIXIotomxAsCcSBkCbAnM4YDiV4i7QrLXQ9N4WmerU+n4jlKz77ff1FHRacjsTvGWBsTtCwPK9814xZOI4fF1b2lLnEn3OPme50+l2n0XNOF8CDhzw4I2DSzTkQezFeANcRkSL4G2GHak15GRI7DbPND2hfeP1/AO5x8z6Kj0qOaKj0uOa+fqPWepiADJnWAsA6zgB1bQKOg1+q2i2212N7uYL9gtYW9ydYuk90wd0PfI9MDmuQ6WG/eb/AKqIf1ze9eM0H5SZA0CZtzxc0ADq6KuKPXFr3bQkjbdjRZ7g21i4kdIjEbSvCNKqv4yXz0Julk3TPX2aVbzClNexwIdYgixBsQQcwQcwvMaXTT5BeN0LuyRh8tpWDX1X1B4t96d4NPmuomaC8+hoTqdo4uLjTtueT5AOwAPsB1BPk1P0eWOa2FrS4FodtyO2SRYOsX2Nr37lnwar6rfvN96ds1Vsm/eHvSvCf2XUoqy+PQuNB6tUJpINqCMuMMO067gSd20kkh3MnxRTtVqHhGW/Zkf7XFZfRkVTuYrbIG7jtdwy2BZF7iq5s+8lWEVvEupR10nz6F/o3QlLTzb6LbDwHD0rtO0LG4tietRasaXaGVQdiDW1hsRcEGXiFRup6vgWff8A7LP6Gmqi2UwtDx8olLhthpu521fpW5hDukbpZkdxVLXU9POmYh9Bv3AmnWZoyHksLC2rc6z27A57bHeQKC0noWqkuDNGG8g53nZqrHCUm9WI6i+JrK3Tsb6yOR4uY4X7N7YFz2gnHHK/jxTanWSmPpNgPa2M+tebVGqcm8s6WP0C4kl1rbQGJI60w6mSZiWLu2vcqxwtFcwOZ6NDrTCwHdbpjczu9ho7TsqCTXhn7Rv3gvPhqZJ+1j8He5Nk1Qk/bM8HKvApIXMmbmbXeMg/Os+8FXs15ja1rdvFrWjAOOQAtgM8Fkhqk8ZzN8CufoyXY70Yi/ok4HHmiqdO+x10ax+usf7QefqshJ9do7elfqAN/Us7+ivOYdzPe5Ru1a/8o+5/9JrQ5I66LGfXw/Rj+873BU1VrTO5195sDgG2AHjn3ogaFAzfllZoHrOOPNDGgDT0XnjmAbXwvnn1qUpNbRHWXzK6XSUjr3keb53c4380LvFbSUotja/PYbc9vx4oURBrr5nr2SOONiLHhn/1CUqnkVWUFdTvte2BNhYg42vwKHfcHFXEU2yXFtwSCMNkAX2T6IbYjDI4IGdoJJN7m/EYdwFllfEb1K/xSArrql3HakkySBdENbSOikcx9tppsbG4yv7Ubq7osVExjc8xjdTyXAvcxQvlDbdZZZN0w/eTvdzI9QHsRervQnDv3JR96F7f9y8+NOUkPOdloUzWEp4pCrWj0aTawR7tElo6QstkMInuI6jRnm0JPJPbo4nj5LRw0Q5KXchoFhcuNmjmT7ALk9i0rBR5kXiHyKak1e2m+kb35Kyp9UAc9pXei9HmQdHeHFzcOji0kHLhhz4rZ6sauRNlaayI7s3ttXN3WuL8SMCjOnSo03NpaAg6lSeVN9DFaM1cp2AbYYSCfSIPHkVfUMMTX9BjbCNgGyy+O08HIdiuqjQDGyyup2kxl7nNLtm+JxAP1b3t1WQT6qOKW8hHoAYu5OOFm48Vei1UgnBb8kTqRlCTUr+pMKoNgE4jkMRye2M2PZZUmmNatqCRsUcwLm7AkvsFjnDo543VtNrtSx0ohYxzwHDZhcPmgA2wtfpk9VuKoqzSM8rTswQwMPF7Gt/GC4+ARp4bFTvnSjrz8utxpToQs1r8/wAGbp5NJygtbUydE7LvnLG/2hic+am1tr60tbJI8RBg2fmXPaXbRHpWdj/cqypXiHa+fxedpxYwG7jnYuU7278W2Jphy2cP6GqC7NxN2pNKPq7lXi8OldJ39NCi1F1skhkET3gROcXOc5jpCDsWFrG9rtaLL0KDWWN17zsGJt8xIMOBxKoYdWpLdGiePtYeshEt1cn/ANMwdrx6torVDCKEbOojJPFRbvb7F9FpmG+NWz7jh7CqnQUscLZA6drS6QuGyHPBBAF77vA4ZIYaCmvYRR3GYxJ8gVJ+jNQBfcgA8dl9vHYTd2jzn9Ad5jbb6li/TUPCpJ7IXn/jVHrDrKWwO3Ekm82hs/NAdHaFziM7IpmhJNqzmRmxFxcg2724JrtXpT+rgPY9o9dk3d47Zwd6h8Op5Nu3vfZ210nZkG2JxNlv4hW7ot3jHXaWgkWLQRYFuyBYhWUursgxNM09bXtP+9RSwyMHShnaOYLyPaFkXZ8o/wCOotfO5pjjaUvFG/o0ZbR8dRFUNc9xlMZLA10htcsJ+kcMCtKzWT0RJHsF2VntIscr4qukggc/ac57X3uSSQb2tc2N8sE2bVlsgu2Qvtl0ybDvv7EY4XFUlaGV/N7hlXw8n/K6Luh0oJr7sA2a1xNwbBxcMevo5dYUkBO7Zg49BuIA+qMc1ZahaWpKGndDWU5ftSF++3bH2aWtAaTe9gWk4fWyWrp/zXUFrYHsF8A0OMZFhgNl+SR4irS/ywfyV0dwoz8DRgW1Qde30XFpwyIANjbLAhNmNsDYHkRb1hei/wD5dGC90crxvHbdnAOAOy1tha2FmjmqfSOoE7L7Oy8Z9HPwNvJGljac1rJJ/HQWeHlHZGIeDwt3WQUwPV4K001SOgaXlti0jbFi0uaTskbJGLsQQc8LZFRzU5+qVtV2Zm0ikkZ1DwVfNH+6ruVzRm4DtNkJK1p4jxCVxY8ZlVYcvjwUL2i+Xq9ys3QjqUD4FJxLZwK45eQSRO4SQsHMgc0fEuHn7lNTw29E3PUL54FHUk0Lc4wT1m/rV/R62MjHQiYO5Qk5R8Mb9DXGEH4pWLX8ltFGyo2qqN9sN2XNAbtcdoHPBaL8pdJDUGMUwAkOLnA7PRFwRs5XuWm+az2j9baeR96ohrQM+m61zY7DG8bHyQunNbqa4bQwOcQLGSRoaTcnIXJ4cbLxJ1KyxalbRfvmb8lHhWuDs1Ykbm3vLr+V7LklNsEOfsDZvYmwtfOxVBpHWSoJs55bfgMBxVHPUuNy437Tf1r2lj2t/seZPDQe1+psjrLHH6L75mzBxOeOA70qX8p0sLw+IAkXsJC545YtBHrWSpKIuxsTdXujdV5JPQZhzOCqqvGheSWV+YsaThK0b3G1utVVUyFzjYvOTeg255Naj2aLbGP8VKS7PdxZ449J3/SlboUQu6eJHLCx96utV9G0ZlJqnvzuARgftOGXh3helQqxhT0ei5JfaxixMZ5tgHR9tiQxQPjDWk7cbQ9/LFzuuyf8npyyKSRz5S/YuN5sh17B7QS3okYm1/o2vjdeuxth3WxEGCO3ostYgjjbPtKzddQxvptzIA4XJsccbni2xywwxWPvk6jbgrfu5BZIeIi0RRwC+7pmsLbZhrnd7rm3iraKmeeLrcg3a8MUJo5hDQA5gywxONhxz4eSLfUTta626sDm0FxAOGIcbZqVRyb0+v5I2i38Du4YfTL744Pa1vV1lObouI/QafJVm1I43keXnnYAAcgBgETE8jJc4SS8X79Cd1fYtKbRsQOEQ8T71ZvlJaWuYNngOFvi6o6epdcKxqKvoMtmAQfFYqkJOSvqaqc0osFl0XEf1TO9QO0ZH9Rg7AENNWu5oSSqdzWuFOf+xklKL5Br6NoPRsAQcMM7i2Y6yhKia1xvO7ZA9SEM5viV2aMPGePrWiNOz/kyNwWeibLfaa2TqIDvC4uFn6/UppdeDbidmM3Mvy5hXgbsnB1kYypJzd5laneOx0ZShszAVLqqn/z2bbR9IY/1DEd6UNVDKMOieRz7Rwd61ta3ZbiZWgcQSDtDkshpWnpnPD2sNwbkNOy13by7lWNS6NVOTnvG3xWxLDpuqon7MM72DMAOuwj7Drt8lrtC/leJIbWRg8N5HgeV3MOB7iFgKuYyOu7sAGQHIKJlOScAslbDUa/jivXmejTqTp8z23SkcFXFG8BkrcC0kA7JHbi1w7lSzatQuvg5vItdgDfMg3uLLL6r6Z+TP6bjuQx29IBIGzi19hjgSR2EreQVcczA+F7ZGHJzTcdmHHqzX5XEqrgqrjTm7fvyPaoKniKac4q5ltIajgjozRvHJw+PUstpDUJwyZ3xv/2u9y9Qkd1ISVg5J6fa+IWkrS9V/wCWOfZ1L3br0Z4zW6syx8/52lvnkqyane30mYcxl4he2z4ZNJ52tl3kXVbVUFO/02NaT9Zux/VgPNbIdrQl4otej/5+SLwU47Sv6r9+x47vQkvVXamU5xDTjydfzskqe0aHnLp+Re61PJdfwecxULjkxxPXhwzU40K84OsBx8Vqw0IaobivOVSpPxSZpyRWyKeHQjB6XS7UZumsGAAUpKHqn4J00g2KTS/pA/HFVTlYaVmBIAzGarSy6hOV2LY2WrtOAxpIvjdayOIs6UDjYjFj8fBwzHgszq/IDEwjlbsIwI8VrabIJI4idPRP5cjQoRZU1kbnG5bbsxCCf0RexWvZGDmE46Pacwt8O1cqs4meeDzO6Zgm6aeTYPYzs6Lu7asfUizPUuIcyoc3ZzBO0H4k3N3Zm9uAwyWrl1ejdm0eCCl1IhOTAOzDyCvDteO0orq0QngG9b9Vczn6Z1cDw0uhm/dLTtDtEdloItb5pANsbLb32GWaO8WN++67FqW1g6At3D2J51dcMlpp46i3dtff6mWeA/r/AMDY9amcY3dxB9yKj1ph4h47h71TfmF/JL8yv5KveKD95dSPs+3JmgZrRB+/93+6kfrVDbN33VmvzPJyXfzQ/wCqUOJQfvLqDuPwZcS6yRHg/wAB70LJrGzgx3kPaghod/Jc/Mj+SdYigveXUHs7+rJJdYeUfi7+ygOsL/osaPE+1SjV9/JObq45B46gveQ67N/qV0+l5XcQOwBCyVLzm4+K0DdWjxUzNXgM1KXatCOzLx7OlyijJmEnrXBSE/F/UtkNDMHBO+RtGQWWfbMPdiaF2c+bMhFolx4HvwRsWh+Z7hgP7q+kaAhHzAHFZKnalaei09C8cFTjvqCaRhbHSzfvMLe24ssLoLWCalfvIH2vbaYcWPHJ7ePbmOBWh1p0v82QMh5k4BYmLAJ8K7pqeuYWvo1l5HuurusUddDts6L22EkZNyxxyx4tONj7QUdJGvGtStMmnroiD0ZHCKQc2vIF+42PcvbpIl5WLpKjUtHZm2hUc467laY+l3D1n3rojU5b0z9lvrco56hjLbbg2+V+OQ9oWa5ZgrtGRk4xs+4PckrBliLggjmMV1HMxDzpwUL23RDlE5blIzgJYmSRXU5T2Rqc5saKMfpCi2DjjzPO/FBNK3ddogSR3A6Qv3jkspU6KczG2HmhCotmdKm90LRmkXROu3Fp9JpOB6weBW50Nppko6DseLDg4do5dYwXn7HW+MVK1/dbI5EHqPBM9To6HrUFSjI5gvM6LWSaPMiQcn5/fGPiCr6i10j/AFjXs67bbfFvS/pUnAspG0EimY9Z6j03DL/lysceQcL97cwj2zKTiOpXLcPUgKrI5zzVjvWiEfXLv6be9AYe2RODkCJ05tQuOsHbaW9PM+KFEy6JV1wWCC9NLlEZAo3SrjrBd00qAziyfUSN2Gnjx8UAnXOUD5Qhn1KFkqUyQGwuSoCElqlT12skLMHSsvyado/dbcqjrNch+qjc7rf0B7XeQVFAk5mkqazrWd0vptkdwTd31Ri7v5dpsqCt01NJm/ZH1Y+j/V6XmFWbNslojAjKTH1ta6V134Aei0YgdZPE9aguk5qI0fop8rgGgrSqipq7IZHJ2QXqvo901ZC1v7Rp7AHAr6DmYsv+Tz8n4jhM0hIe64YWmxaAbFxPPAixwz5q6rZ3wG0nTZ9doxH2mD1t8AvLxFV1ZX5GulFR05jy3pHsHrchNI6KbM0A4OHouztlcFtxcG2Snjrmu6TTtNItduOV+Xap2Sg5YhZ72LMpY9AuAttW6mveB3Dgkr26SbMLY8xKicpCVG4rY2Zwe2KIjaoWtxRDFOQyC4G9EqKSga+981ND6JUkBxKm0mtSkW09DN6Q1c6u9U82iXt4XXoTA652gC3gAMQOu5sfLvTJNFseLj47kM047allkluecbJBxFlM1wWuqdXMDhfs9ypp9XiDyR7wveVhuD/qyrdZ3pAHtCIp6p7PQkkZ1Ne633SSPJddox7Uz5O4cE/Ei9mDhPmiyh1hqBlMHfbjafw7JR0WuFQM2wu++z2uVBuncQnsHV5IXBk9TSs10kHpQNP2ZvfH7VPHrvzgf3PjPrIWXZ4JxPYV1/gdl+JrW67D/Tzd26P/ACLn6dsBtuJ72vlFle37VZUSJgm+d/8AWfxBBa8gONuZrXa8t/083eYh/wAiik12PCnf/NIweq6zTpOtRl6J1viX8musv0YWD7UpPqjQkuttS4ZxN7Gud5l9vJVBKYQeRTIGUMm01UO9Kd4+wGM8w2/mq+d23/mFz/tvc/ycSFKIHHgu/IXHgmzpcwcO/IFBsLAC3JMe5WEWiHO96sKXVkuzBSPEU48xlQmzNEXyUsdA91rDNbmj1SA9JXMGjI48SB2n2BI8VJ+FB4MV4mY/Q+ocklnOBDb5kYX5XW3ptXWU7G7IBcb3PuVkI3Pitd8cfAtFnOPV9QdeZ6lEHF1rm+A+OpRk3LWTDGy8KL3Q2kQymDTmNrH+Y5hUml6/bv8AA/suS3DQBgRfzPH48clVVLyc8D8fHuyU899xo00tfMr31L43lzCWnjbI9oyd349atNH6zNcfnfm3fWHon7V/R77jrVZO08fj4+LZoCaDiPj4+LqyaaFlE9CZOSARskcCCcfI+tdXmzZHDAEjqBcPIYJLtBLMcXJhSSWpmVDOKlYUkkoQuE4H44KSA4lJJKOg2MqXdg48eYwKSSDKokj2rcHAdx9x8kmvY/C2I4EfASSQcU1cKbUrEMuh2HhZCyauDgkkouETQpyXMgOgu9QS6EI4epJJSnBR2KRm3uDnRoHBL82NXUll4klzNKirHfzQEM7Rjd9a36sH+shJJNGpLXUWcI6E40W1OGib5AeSSSnxZ+Y3DiPZobq9SIj0A7kPFJJUpylN6sSaUVogqLV7mQjItXWjNJJaVSiZnVkGQ6LjbwT5qhjLDicgBn7EklaMIrYjOTtcY/bPJg+8fcPNOp4ADfM8ziUkkzFRqJB/hh2rPUoy7kklAMS5NAHAWtc4d5F7dWHcePNVdTo4Y9hPcMCe7x5EjBJJZpaDwkyrn0fb1W6ziBy9nYq2akPDrPhn8eZXUk8Wy1roCcwcQkkktJE//9k="/>
          <p:cNvSpPr>
            <a:spLocks noChangeAspect="1" noChangeArrowheads="1"/>
          </p:cNvSpPr>
          <p:nvPr/>
        </p:nvSpPr>
        <p:spPr bwMode="auto">
          <a:xfrm>
            <a:off x="143609" y="-691885"/>
            <a:ext cx="2417885" cy="1452563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33800" name="AutoShape 8" descr="data:image/jpeg;base64,/9j/4AAQSkZJRgABAQAAAQABAAD/2wCEAAkGBhQSEBQUEBMVFBQUFRQUFBUUFRgVFxQUFRQVFBUVFBQYHCYeFxkjGRQUHy8gIycpLCwsFR4xNTAqNSYrLCkBCQoKDgwOGg8PGiwkHxwsKSwsLCwpKSwqLCwsLCwsKSksLCwsLCksLCwsKSwpKSwsKSwsLCksLCksLCkpLCwpKf/AABEIALcBEwMBIgACEQEDEQH/xAAcAAABBQEBAQAAAAAAAAAAAAAEAAIDBQYBBwj/xABHEAABAwICBgYFBwoGAwEAAAABAAIDBBEhMQUGEhNBUSJhcYGRoTKxwdHwFCNCUnKSsgcVFkNTYnOCouEkM1TCw/Fjg+IX/8QAGwEAAwEBAQEBAAAAAAAAAAAAAQIDBAAFBwb/xAAyEQACAQIEAwUIAgMBAAAAAAAAAQIDEQQSITETQZEFFDJRcRVCYYGhseHwImIzUsHR/9oADAMBAAIRAxEAPwDy0NTg1ODVIGr6DGJ5LYxrU8NTwxSBivGIjkRhie1ilbGntYrJCOREI1II1K1ieGJibkRCNODFMI08RrhMxCGJwjU4jTxGuuK5EAjThGpxEniJdcXMDiNdEaJEa6I0LgzA4jXd0id2nCNdcXMC7pd3aK3aW6QudmBd0lukVukt2uuDMC7pLdIrdpGJdc7MBujXDGinx4LpjXXDmAzEmmNGGNNMaNw5gMxphjRpjTTEuuMpARjTDGjXRKN0a646kBlijdGjDGmGNAdSBN2kid2khYOYrWtTw1PaxStjUkijkMbGpWsUjY1I2NVSJuRG1ikbGpWxqRsaNybkRNjUjY1M2JSNjXXJuRAI04R4+PsRAjTmx4+PsQuK5EIjTxGiBEpBChmEzAojTxEihCniBK5oFwQRJwiRggTxTpXUQLgQiXRCjxTpwp0vFOANyluVYinXfk6XinalduUtyrH5Ou/Jl3FO1K3crm5Vl8nXDTruKdqVj4cCuGFWElPgUjAjxDiuMSYYlYmBMdCmUwXK8xJpjRzoVGYk2YNwJ0ajMaOMSY6NG46kAuiUbokcY0x0aOYdSAdhJFbpJdmGzlQ2NTMjTmsUzWIFXIY2NStjUjI1M2NG5JyI2xKVsalbGpWxIXJtkLY1I2NTtjUrYUuYm2DtiUjYce73ItlOpWQY9w9ZU3UOBWwKVtOjWU6mbTKMqp2UAbTqVtOrBlMpW0yi6w6iVzadSCmViKdPFOpusHKVzaZOFMrIU6cKdTdYNitFMnCm6lZfJ135Ol4obFZ8mS+TKz+TpbhdxTrFWaZcNMrT5OuGnR4oLFPNTdE9i46nVnUxAMcTkGuJ7gSnGnTKsdlKc06jdTq4dTqJ1OqKsK4lM6BROgVw+nUD6dWjVEcSpdCo3RKzfCoXQqyqC7Fc6JROjVg6JROjT5hkwDdpIvdpI5hrlKyNTsjTo2KdjEcxRsY2NTNiUjIlOyJK5E2yJkSmZCpo4UTHCkcxAdkCJjp0THAi46dZ51RkgOOmToqb50/YZ+J6s46dKKD5538OP8cqyyrFYxI2UylbTo5lOpm06zyrBsANp1I2mR7adStgUnVDYr20yeKZWAhThCpuqNlYAKdOFOjxCnCFJxQ5GACBd3CP3SW6Q4gcgBuEtwj9yubpdxAZAAwJpgVhuU0xI8Q7IU2koPmZf4cn4CpTAi9IRfNSfw3/AISuxx9Edg9SdVAZdAB0CidArN0SjdCqKoLYqnwId8Ct3RIaSNXjUFaKl8KHfCrWSNDPYtMahForXxKF0asHsUEjFZTAkA7pJEFqSfONYoY2IiNijjCKjCLmVaHxxomOJciai4mKbqCuIo4kVFCuxRoqONRlUFyiigRkVOuRMRsTVknMpFHI4UyGH5938KP8cyPY1MhZ/iH/AMKL8c6xymXjAlbCpGxIfSsVRsf4Qwh/HfNeR1W2SLHtuvNdaKrS8QvPJIxhNrwBjGY85GG47zdTTzcy0KDkepTObGNqRzWN5vIaPE4KkqdftHx32qqMkcGbUnhsAjzXidQ0uxlkdI45XJcfF3rwURpSMTiOOzmO7jbq8FTLTXik/kjTHCM9y0Lr5RVAFp2RvP6uU7Dr3wxdYG/UeK0oi818yUULpAMLDDE8iOAzPqWj0fXVdLjTVEjWjHZHSb/NEbgjsCSUabV4S6pj91ke97pRUtRHJfdSMk2SWu2HB1iMLG2WSyGouvM1VKIahkdyxzhIwFt9kfVuWnut2K41drDHT1kkj9oRVNbmA3COR5xI4n/pZG2mLwbaNF9ulVac1jpqMXqZmsPBuLnnsY27u+1l5rpjXOuqrhswgjPCFuzcfxCds9xAWUl0He52y5xzNr3PWb3K0QpxfikP3aXNHoj/AMs1LvtkRzGHZxk2QHbd+DC70bX61f6N/KBQTkBlS1rj9GUGI+LwAe4rwd1I8P2C2xILgSbCwIF+fdbiFLLSWtjfnbPu5quWjLZvoc8MfSrWgi4IIORGIPYVwxr570IKgPAoZZg4/RhLgT/K3A969Q0IdMNtvjA9v/mADvGE+sFTlTy7SIyo2NZWRXjeObH/AISo6ZvzbD+438IXZJjuzt2Dtk32SSL24EgEjuQ1HU/Mx/w4/wAAQimQcdAlzVC4KKSs60LJXK0Ysm4k8hQkpUEtf1oOXSHWFpjGwnCbCZLIeRwQUukRzVDpPXOGI22i93JmNu05BXVzlh2zRSSDmhZJgsdL+UFuNondWIQU+vhPoxeL/cE2dLmUWFkbczhJYL9OT+y/r/8AlJDjw8xu6y8iIa7MGTHnlkL+eCsaXXSAjpOLTYXBaczmLgcFgp6dzHFr2lrmmxBFiDyIXIotomxAsCcSBkCbAnM4YDiV4i7QrLXQ9N4WmerU+n4jlKz77ff1FHRacjsTvGWBsTtCwPK9814xZOI4fF1b2lLnEn3OPme50+l2n0XNOF8CDhzw4I2DSzTkQezFeANcRkSL4G2GHak15GRI7DbPND2hfeP1/AO5x8z6Kj0qOaKj0uOa+fqPWepiADJnWAsA6zgB1bQKOg1+q2i2212N7uYL9gtYW9ydYuk90wd0PfI9MDmuQ6WG/eb/AKqIf1ze9eM0H5SZA0CZtzxc0ADq6KuKPXFr3bQkjbdjRZ7g21i4kdIjEbSvCNKqv4yXz0Julk3TPX2aVbzClNexwIdYgixBsQQcwQcwvMaXTT5BeN0LuyRh8tpWDX1X1B4t96d4NPmuomaC8+hoTqdo4uLjTtueT5AOwAPsB1BPk1P0eWOa2FrS4FodtyO2SRYOsX2Nr37lnwar6rfvN96ds1Vsm/eHvSvCf2XUoqy+PQuNB6tUJpINqCMuMMO067gSd20kkh3MnxRTtVqHhGW/Zkf7XFZfRkVTuYrbIG7jtdwy2BZF7iq5s+8lWEVvEupR10nz6F/o3QlLTzb6LbDwHD0rtO0LG4tietRasaXaGVQdiDW1hsRcEGXiFRup6vgWff8A7LP6Gmqi2UwtDx8olLhthpu521fpW5hDukbpZkdxVLXU9POmYh9Bv3AmnWZoyHksLC2rc6z27A57bHeQKC0noWqkuDNGG8g53nZqrHCUm9WI6i+JrK3Tsb6yOR4uY4X7N7YFz2gnHHK/jxTanWSmPpNgPa2M+tebVGqcm8s6WP0C4kl1rbQGJI60w6mSZiWLu2vcqxwtFcwOZ6NDrTCwHdbpjczu9ho7TsqCTXhn7Rv3gvPhqZJ+1j8He5Nk1Qk/bM8HKvApIXMmbmbXeMg/Os+8FXs15ja1rdvFrWjAOOQAtgM8Fkhqk8ZzN8CufoyXY70Yi/ok4HHmiqdO+x10ax+usf7QefqshJ9do7elfqAN/Us7+ivOYdzPe5Ru1a/8o+5/9JrQ5I66LGfXw/Rj+873BU1VrTO5195sDgG2AHjn3ogaFAzfllZoHrOOPNDGgDT0XnjmAbXwvnn1qUpNbRHWXzK6XSUjr3keb53c4380LvFbSUotja/PYbc9vx4oURBrr5nr2SOONiLHhn/1CUqnkVWUFdTvte2BNhYg42vwKHfcHFXEU2yXFtwSCMNkAX2T6IbYjDI4IGdoJJN7m/EYdwFllfEb1K/xSArrql3HakkySBdENbSOikcx9tppsbG4yv7Ubq7osVExjc8xjdTyXAvcxQvlDbdZZZN0w/eTvdzI9QHsRervQnDv3JR96F7f9y8+NOUkPOdloUzWEp4pCrWj0aTawR7tElo6QstkMInuI6jRnm0JPJPbo4nj5LRw0Q5KXchoFhcuNmjmT7ALk9i0rBR5kXiHyKak1e2m+kb35Kyp9UAc9pXei9HmQdHeHFzcOji0kHLhhz4rZ6sauRNlaayI7s3ttXN3WuL8SMCjOnSo03NpaAg6lSeVN9DFaM1cp2AbYYSCfSIPHkVfUMMTX9BjbCNgGyy+O08HIdiuqjQDGyyup2kxl7nNLtm+JxAP1b3t1WQT6qOKW8hHoAYu5OOFm48Vei1UgnBb8kTqRlCTUr+pMKoNgE4jkMRye2M2PZZUmmNatqCRsUcwLm7AkvsFjnDo543VtNrtSx0ohYxzwHDZhcPmgA2wtfpk9VuKoqzSM8rTswQwMPF7Gt/GC4+ARp4bFTvnSjrz8utxpToQs1r8/wAGbp5NJygtbUydE7LvnLG/2hic+am1tr60tbJI8RBg2fmXPaXbRHpWdj/cqypXiHa+fxedpxYwG7jnYuU7278W2Jphy2cP6GqC7NxN2pNKPq7lXi8OldJ39NCi1F1skhkET3gROcXOc5jpCDsWFrG9rtaLL0KDWWN17zsGJt8xIMOBxKoYdWpLdGiePtYeshEt1cn/ANMwdrx6torVDCKEbOojJPFRbvb7F9FpmG+NWz7jh7CqnQUscLZA6drS6QuGyHPBBAF77vA4ZIYaCmvYRR3GYxJ8gVJ+jNQBfcgA8dl9vHYTd2jzn9Ad5jbb6li/TUPCpJ7IXn/jVHrDrKWwO3Ekm82hs/NAdHaFziM7IpmhJNqzmRmxFxcg2724JrtXpT+rgPY9o9dk3d47Zwd6h8Op5Nu3vfZ210nZkG2JxNlv4hW7ot3jHXaWgkWLQRYFuyBYhWUursgxNM09bXtP+9RSwyMHShnaOYLyPaFkXZ8o/wCOotfO5pjjaUvFG/o0ZbR8dRFUNc9xlMZLA10htcsJ+kcMCtKzWT0RJHsF2VntIscr4qukggc/ac57X3uSSQb2tc2N8sE2bVlsgu2Qvtl0ybDvv7EY4XFUlaGV/N7hlXw8n/K6Luh0oJr7sA2a1xNwbBxcMevo5dYUkBO7Zg49BuIA+qMc1ZahaWpKGndDWU5ftSF++3bH2aWtAaTe9gWk4fWyWrp/zXUFrYHsF8A0OMZFhgNl+SR4irS/ywfyV0dwoz8DRgW1Qde30XFpwyIANjbLAhNmNsDYHkRb1hei/wD5dGC90crxvHbdnAOAOy1tha2FmjmqfSOoE7L7Oy8Z9HPwNvJGljac1rJJ/HQWeHlHZGIeDwt3WQUwPV4K001SOgaXlti0jbFi0uaTskbJGLsQQc8LZFRzU5+qVtV2Zm0ikkZ1DwVfNH+6ruVzRm4DtNkJK1p4jxCVxY8ZlVYcvjwUL2i+Xq9ys3QjqUD4FJxLZwK45eQSRO4SQsHMgc0fEuHn7lNTw29E3PUL54FHUk0Lc4wT1m/rV/R62MjHQiYO5Qk5R8Mb9DXGEH4pWLX8ltFGyo2qqN9sN2XNAbtcdoHPBaL8pdJDUGMUwAkOLnA7PRFwRs5XuWm+az2j9baeR96ohrQM+m61zY7DG8bHyQunNbqa4bQwOcQLGSRoaTcnIXJ4cbLxJ1KyxalbRfvmb8lHhWuDs1Ykbm3vLr+V7LklNsEOfsDZvYmwtfOxVBpHWSoJs55bfgMBxVHPUuNy437Tf1r2lj2t/seZPDQe1+psjrLHH6L75mzBxOeOA70qX8p0sLw+IAkXsJC545YtBHrWSpKIuxsTdXujdV5JPQZhzOCqqvGheSWV+YsaThK0b3G1utVVUyFzjYvOTeg255Naj2aLbGP8VKS7PdxZ449J3/SlboUQu6eJHLCx96utV9G0ZlJqnvzuARgftOGXh3helQqxhT0ei5JfaxixMZ5tgHR9tiQxQPjDWk7cbQ9/LFzuuyf8npyyKSRz5S/YuN5sh17B7QS3okYm1/o2vjdeuxth3WxEGCO3ostYgjjbPtKzddQxvptzIA4XJsccbni2xywwxWPvk6jbgrfu5BZIeIi0RRwC+7pmsLbZhrnd7rm3iraKmeeLrcg3a8MUJo5hDQA5gywxONhxz4eSLfUTta626sDm0FxAOGIcbZqVRyb0+v5I2i38Du4YfTL744Pa1vV1lObouI/QafJVm1I43keXnnYAAcgBgETE8jJc4SS8X79Cd1fYtKbRsQOEQ8T71ZvlJaWuYNngOFvi6o6epdcKxqKvoMtmAQfFYqkJOSvqaqc0osFl0XEf1TO9QO0ZH9Rg7AENNWu5oSSqdzWuFOf+xklKL5Br6NoPRsAQcMM7i2Y6yhKia1xvO7ZA9SEM5viV2aMPGePrWiNOz/kyNwWeibLfaa2TqIDvC4uFn6/UppdeDbidmM3Mvy5hXgbsnB1kYypJzd5laneOx0ZShszAVLqqn/z2bbR9IY/1DEd6UNVDKMOieRz7Rwd61ta3ZbiZWgcQSDtDkshpWnpnPD2sNwbkNOy13by7lWNS6NVOTnvG3xWxLDpuqon7MM72DMAOuwj7Drt8lrtC/leJIbWRg8N5HgeV3MOB7iFgKuYyOu7sAGQHIKJlOScAslbDUa/jivXmejTqTp8z23SkcFXFG8BkrcC0kA7JHbi1w7lSzatQuvg5vItdgDfMg3uLLL6r6Z+TP6bjuQx29IBIGzi19hjgSR2EreQVcczA+F7ZGHJzTcdmHHqzX5XEqrgqrjTm7fvyPaoKniKac4q5ltIajgjozRvHJw+PUstpDUJwyZ3xv/2u9y9Qkd1ISVg5J6fa+IWkrS9V/wCWOfZ1L3br0Z4zW6syx8/52lvnkqyane30mYcxl4he2z4ZNJ52tl3kXVbVUFO/02NaT9Zux/VgPNbIdrQl4otej/5+SLwU47Sv6r9+x47vQkvVXamU5xDTjydfzskqe0aHnLp+Re61PJdfwecxULjkxxPXhwzU40K84OsBx8Vqw0IaobivOVSpPxSZpyRWyKeHQjB6XS7UZumsGAAUpKHqn4J00g2KTS/pA/HFVTlYaVmBIAzGarSy6hOV2LY2WrtOAxpIvjdayOIs6UDjYjFj8fBwzHgszq/IDEwjlbsIwI8VrabIJI4idPRP5cjQoRZU1kbnG5bbsxCCf0RexWvZGDmE46Pacwt8O1cqs4meeDzO6Zgm6aeTYPYzs6Lu7asfUizPUuIcyoc3ZzBO0H4k3N3Zm9uAwyWrl1ejdm0eCCl1IhOTAOzDyCvDteO0orq0QngG9b9Vczn6Z1cDw0uhm/dLTtDtEdloItb5pANsbLb32GWaO8WN++67FqW1g6At3D2J51dcMlpp46i3dtff6mWeA/r/AMDY9amcY3dxB9yKj1ph4h47h71TfmF/JL8yv5KveKD95dSPs+3JmgZrRB+/93+6kfrVDbN33VmvzPJyXfzQ/wCqUOJQfvLqDuPwZcS6yRHg/wAB70LJrGzgx3kPaghod/Jc/Mj+SdYigveXUHs7+rJJdYeUfi7+ygOsL/osaPE+1SjV9/JObq45B46gveQ67N/qV0+l5XcQOwBCyVLzm4+K0DdWjxUzNXgM1KXatCOzLx7OlyijJmEnrXBSE/F/UtkNDMHBO+RtGQWWfbMPdiaF2c+bMhFolx4HvwRsWh+Z7hgP7q+kaAhHzAHFZKnalaei09C8cFTjvqCaRhbHSzfvMLe24ssLoLWCalfvIH2vbaYcWPHJ7ePbmOBWh1p0v82QMh5k4BYmLAJ8K7pqeuYWvo1l5HuurusUddDts6L22EkZNyxxyx4tONj7QUdJGvGtStMmnroiD0ZHCKQc2vIF+42PcvbpIl5WLpKjUtHZm2hUc467laY+l3D1n3rojU5b0z9lvrco56hjLbbg2+V+OQ9oWa5ZgrtGRk4xs+4PckrBliLggjmMV1HMxDzpwUL23RDlE5blIzgJYmSRXU5T2Rqc5saKMfpCi2DjjzPO/FBNK3ddogSR3A6Qv3jkspU6KczG2HmhCotmdKm90LRmkXROu3Fp9JpOB6weBW50Nppko6DseLDg4do5dYwXn7HW+MVK1/dbI5EHqPBM9To6HrUFSjI5gvM6LWSaPMiQcn5/fGPiCr6i10j/AFjXs67bbfFvS/pUnAspG0EimY9Z6j03DL/lysceQcL97cwj2zKTiOpXLcPUgKrI5zzVjvWiEfXLv6be9AYe2RODkCJ05tQuOsHbaW9PM+KFEy6JV1wWCC9NLlEZAo3SrjrBd00qAziyfUSN2Gnjx8UAnXOUD5Qhn1KFkqUyQGwuSoCElqlT12skLMHSsvyado/dbcqjrNch+qjc7rf0B7XeQVFAk5mkqazrWd0vptkdwTd31Ri7v5dpsqCt01NJm/ZH1Y+j/V6XmFWbNslojAjKTH1ta6V134Aei0YgdZPE9aguk5qI0fop8rgGgrSqipq7IZHJ2QXqvo901ZC1v7Rp7AHAr6DmYsv+Tz8n4jhM0hIe64YWmxaAbFxPPAixwz5q6rZ3wG0nTZ9doxH2mD1t8AvLxFV1ZX5GulFR05jy3pHsHrchNI6KbM0A4OHouztlcFtxcG2Snjrmu6TTtNItduOV+Xap2Sg5YhZ72LMpY9AuAttW6mveB3Dgkr26SbMLY8xKicpCVG4rY2Zwe2KIjaoWtxRDFOQyC4G9EqKSga+981ND6JUkBxKm0mtSkW09DN6Q1c6u9U82iXt4XXoTA652gC3gAMQOu5sfLvTJNFseLj47kM047allkluecbJBxFlM1wWuqdXMDhfs9ypp9XiDyR7wveVhuD/qyrdZ3pAHtCIp6p7PQkkZ1Ne633SSPJddox7Uz5O4cE/Ei9mDhPmiyh1hqBlMHfbjafw7JR0WuFQM2wu++z2uVBuncQnsHV5IXBk9TSs10kHpQNP2ZvfH7VPHrvzgf3PjPrIWXZ4JxPYV1/gdl+JrW67D/Tzd26P/ACLn6dsBtuJ72vlFle37VZUSJgm+d/8AWfxBBa8gONuZrXa8t/083eYh/wAiik12PCnf/NIweq6zTpOtRl6J1viX8musv0YWD7UpPqjQkuttS4ZxN7Gud5l9vJVBKYQeRTIGUMm01UO9Kd4+wGM8w2/mq+d23/mFz/tvc/ycSFKIHHgu/IXHgmzpcwcO/IFBsLAC3JMe5WEWiHO96sKXVkuzBSPEU48xlQmzNEXyUsdA91rDNbmj1SA9JXMGjI48SB2n2BI8VJ+FB4MV4mY/Q+ocklnOBDb5kYX5XW3ptXWU7G7IBcb3PuVkI3Pitd8cfAtFnOPV9QdeZ6lEHF1rm+A+OpRk3LWTDGy8KL3Q2kQymDTmNrH+Y5hUml6/bv8AA/suS3DQBgRfzPH48clVVLyc8D8fHuyU899xo00tfMr31L43lzCWnjbI9oyd349atNH6zNcfnfm3fWHon7V/R77jrVZO08fj4+LZoCaDiPj4+LqyaaFlE9CZOSARskcCCcfI+tdXmzZHDAEjqBcPIYJLtBLMcXJhSSWpmVDOKlYUkkoQuE4H44KSA4lJJKOg2MqXdg48eYwKSSDKokj2rcHAdx9x8kmvY/C2I4EfASSQcU1cKbUrEMuh2HhZCyauDgkkouETQpyXMgOgu9QS6EI4epJJSnBR2KRm3uDnRoHBL82NXUll4klzNKirHfzQEM7Rjd9a36sH+shJJNGpLXUWcI6E40W1OGib5AeSSSnxZ+Y3DiPZobq9SIj0A7kPFJJUpylN6sSaUVogqLV7mQjItXWjNJJaVSiZnVkGQ6LjbwT5qhjLDicgBn7EklaMIrYjOTtcY/bPJg+8fcPNOp4ADfM8ziUkkzFRqJB/hh2rPUoy7kklAMS5NAHAWtc4d5F7dWHcePNVdTo4Y9hPcMCe7x5EjBJJZpaDwkyrn0fb1W6ziBy9nYq2akPDrPhn8eZXUk8Wy1roCcwcQkkktJE//9k="/>
          <p:cNvSpPr>
            <a:spLocks noChangeAspect="1" noChangeArrowheads="1"/>
          </p:cNvSpPr>
          <p:nvPr/>
        </p:nvSpPr>
        <p:spPr bwMode="auto">
          <a:xfrm>
            <a:off x="143609" y="-691885"/>
            <a:ext cx="2417885" cy="1452563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33802" name="AutoShape 10" descr="data:image/jpeg;base64,/9j/4AAQSkZJRgABAQAAAQABAAD/2wCEAAkGBhQSEBQUEBMVFBQUFRQUFBUUFRgVFxQUFRQVFBUVFBQYHCYeFxkjGRQUHy8gIycpLCwsFR4xNTAqNSYrLCkBCQoKDgwOGg8PGiwkHxwsKSwsLCwpKSwqLCwsLCwsKSksLCwsLCksLCwsKSwpKSwsKSwsLCksLCksLCkpLCwpKf/AABEIALcBEwMBIgACEQEDEQH/xAAcAAABBQEBAQAAAAAAAAAAAAAEAAIDBQYBBwj/xABHEAABAwICBgYFBwoGAwEAAAABAAIDBBEhMQUGEhNBUSJhcYGRoTKxwdHwFCNCUnKSsgcVFkNTYnOCouEkM1TCw/Fjg+IX/8QAGwEAAwEBAQEBAAAAAAAAAAAAAQIDBAAFBwb/xAAyEQACAQIEAwUIAgMBAAAAAAAAAQIDEQQSITETQZEFFDJRcRVCYYGhseHwImIzUsHR/9oADAMBAAIRAxEAPwDy0NTg1ODVIGr6DGJ5LYxrU8NTwxSBivGIjkRhie1ilbGntYrJCOREI1II1K1ieGJibkRCNODFMI08RrhMxCGJwjU4jTxGuuK5EAjThGpxEniJdcXMDiNdEaJEa6I0LgzA4jXd0id2nCNdcXMC7pd3aK3aW6QudmBd0lukVukt2uuDMC7pLdIrdpGJdc7MBujXDGinx4LpjXXDmAzEmmNGGNNMaNw5gMxphjRpjTTEuuMpARjTDGjXRKN0a646kBlijdGjDGmGNAdSBN2kid2khYOYrWtTw1PaxStjUkijkMbGpWsUjY1I2NVSJuRG1ikbGpWxqRsaNybkRNjUjY1M2JSNjXXJuRAI04R4+PsRAjTmx4+PsQuK5EIjTxGiBEpBChmEzAojTxEihCniBK5oFwQRJwiRggTxTpXUQLgQiXRCjxTpwp0vFOANyluVYinXfk6XinalduUtyrH5Ou/Jl3FO1K3crm5Vl8nXDTruKdqVj4cCuGFWElPgUjAjxDiuMSYYlYmBMdCmUwXK8xJpjRzoVGYk2YNwJ0ajMaOMSY6NG46kAuiUbokcY0x0aOYdSAdhJFbpJdmGzlQ2NTMjTmsUzWIFXIY2NStjUjI1M2NG5JyI2xKVsalbGpWxIXJtkLY1I2NTtjUrYUuYm2DtiUjYce73ItlOpWQY9w9ZU3UOBWwKVtOjWU6mbTKMqp2UAbTqVtOrBlMpW0yi6w6iVzadSCmViKdPFOpusHKVzaZOFMrIU6cKdTdYNitFMnCm6lZfJ135Ol4obFZ8mS+TKz+TpbhdxTrFWaZcNMrT5OuGnR4oLFPNTdE9i46nVnUxAMcTkGuJ7gSnGnTKsdlKc06jdTq4dTqJ1OqKsK4lM6BROgVw+nUD6dWjVEcSpdCo3RKzfCoXQqyqC7Fc6JROjVg6JROjT5hkwDdpIvdpI5hrlKyNTsjTo2KdjEcxRsY2NTNiUjIlOyJK5E2yJkSmZCpo4UTHCkcxAdkCJjp0THAi46dZ51RkgOOmToqb50/YZ+J6s46dKKD5538OP8cqyyrFYxI2UylbTo5lOpm06zyrBsANp1I2mR7adStgUnVDYr20yeKZWAhThCpuqNlYAKdOFOjxCnCFJxQ5GACBd3CP3SW6Q4gcgBuEtwj9yubpdxAZAAwJpgVhuU0xI8Q7IU2koPmZf4cn4CpTAi9IRfNSfw3/AISuxx9Edg9SdVAZdAB0CidArN0SjdCqKoLYqnwId8Ct3RIaSNXjUFaKl8KHfCrWSNDPYtMahForXxKF0asHsUEjFZTAkA7pJEFqSfONYoY2IiNijjCKjCLmVaHxxomOJciai4mKbqCuIo4kVFCuxRoqONRlUFyiigRkVOuRMRsTVknMpFHI4UyGH5938KP8cyPY1MhZ/iH/AMKL8c6xymXjAlbCpGxIfSsVRsf4Qwh/HfNeR1W2SLHtuvNdaKrS8QvPJIxhNrwBjGY85GG47zdTTzcy0KDkepTObGNqRzWN5vIaPE4KkqdftHx32qqMkcGbUnhsAjzXidQ0uxlkdI45XJcfF3rwURpSMTiOOzmO7jbq8FTLTXik/kjTHCM9y0Lr5RVAFp2RvP6uU7Dr3wxdYG/UeK0oi818yUULpAMLDDE8iOAzPqWj0fXVdLjTVEjWjHZHSb/NEbgjsCSUabV4S6pj91ke97pRUtRHJfdSMk2SWu2HB1iMLG2WSyGouvM1VKIahkdyxzhIwFt9kfVuWnut2K41drDHT1kkj9oRVNbmA3COR5xI4n/pZG2mLwbaNF9ulVac1jpqMXqZmsPBuLnnsY27u+1l5rpjXOuqrhswgjPCFuzcfxCds9xAWUl0He52y5xzNr3PWb3K0QpxfikP3aXNHoj/AMs1LvtkRzGHZxk2QHbd+DC70bX61f6N/KBQTkBlS1rj9GUGI+LwAe4rwd1I8P2C2xILgSbCwIF+fdbiFLLSWtjfnbPu5quWjLZvoc8MfSrWgi4IIORGIPYVwxr570IKgPAoZZg4/RhLgT/K3A969Q0IdMNtvjA9v/mADvGE+sFTlTy7SIyo2NZWRXjeObH/AISo6ZvzbD+438IXZJjuzt2Dtk32SSL24EgEjuQ1HU/Mx/w4/wAAQimQcdAlzVC4KKSs60LJXK0Ysm4k8hQkpUEtf1oOXSHWFpjGwnCbCZLIeRwQUukRzVDpPXOGI22i93JmNu05BXVzlh2zRSSDmhZJgsdL+UFuNondWIQU+vhPoxeL/cE2dLmUWFkbczhJYL9OT+y/r/8AlJDjw8xu6y8iIa7MGTHnlkL+eCsaXXSAjpOLTYXBaczmLgcFgp6dzHFr2lrmmxBFiDyIXIotomxAsCcSBkCbAnM4YDiV4i7QrLXQ9N4WmerU+n4jlKz77ff1FHRacjsTvGWBsTtCwPK9814xZOI4fF1b2lLnEn3OPme50+l2n0XNOF8CDhzw4I2DSzTkQezFeANcRkSL4G2GHak15GRI7DbPND2hfeP1/AO5x8z6Kj0qOaKj0uOa+fqPWepiADJnWAsA6zgB1bQKOg1+q2i2212N7uYL9gtYW9ydYuk90wd0PfI9MDmuQ6WG/eb/AKqIf1ze9eM0H5SZA0CZtzxc0ADq6KuKPXFr3bQkjbdjRZ7g21i4kdIjEbSvCNKqv4yXz0Julk3TPX2aVbzClNexwIdYgixBsQQcwQcwvMaXTT5BeN0LuyRh8tpWDX1X1B4t96d4NPmuomaC8+hoTqdo4uLjTtueT5AOwAPsB1BPk1P0eWOa2FrS4FodtyO2SRYOsX2Nr37lnwar6rfvN96ds1Vsm/eHvSvCf2XUoqy+PQuNB6tUJpINqCMuMMO067gSd20kkh3MnxRTtVqHhGW/Zkf7XFZfRkVTuYrbIG7jtdwy2BZF7iq5s+8lWEVvEupR10nz6F/o3QlLTzb6LbDwHD0rtO0LG4tietRasaXaGVQdiDW1hsRcEGXiFRup6vgWff8A7LP6Gmqi2UwtDx8olLhthpu521fpW5hDukbpZkdxVLXU9POmYh9Bv3AmnWZoyHksLC2rc6z27A57bHeQKC0noWqkuDNGG8g53nZqrHCUm9WI6i+JrK3Tsb6yOR4uY4X7N7YFz2gnHHK/jxTanWSmPpNgPa2M+tebVGqcm8s6WP0C4kl1rbQGJI60w6mSZiWLu2vcqxwtFcwOZ6NDrTCwHdbpjczu9ho7TsqCTXhn7Rv3gvPhqZJ+1j8He5Nk1Qk/bM8HKvApIXMmbmbXeMg/Os+8FXs15ja1rdvFrWjAOOQAtgM8Fkhqk8ZzN8CufoyXY70Yi/ok4HHmiqdO+x10ax+usf7QefqshJ9do7elfqAN/Us7+ivOYdzPe5Ru1a/8o+5/9JrQ5I66LGfXw/Rj+873BU1VrTO5195sDgG2AHjn3ogaFAzfllZoHrOOPNDGgDT0XnjmAbXwvnn1qUpNbRHWXzK6XSUjr3keb53c4380LvFbSUotja/PYbc9vx4oURBrr5nr2SOONiLHhn/1CUqnkVWUFdTvte2BNhYg42vwKHfcHFXEU2yXFtwSCMNkAX2T6IbYjDI4IGdoJJN7m/EYdwFllfEb1K/xSArrql3HakkySBdENbSOikcx9tppsbG4yv7Ubq7osVExjc8xjdTyXAvcxQvlDbdZZZN0w/eTvdzI9QHsRervQnDv3JR96F7f9y8+NOUkPOdloUzWEp4pCrWj0aTawR7tElo6QstkMInuI6jRnm0JPJPbo4nj5LRw0Q5KXchoFhcuNmjmT7ALk9i0rBR5kXiHyKak1e2m+kb35Kyp9UAc9pXei9HmQdHeHFzcOji0kHLhhz4rZ6sauRNlaayI7s3ttXN3WuL8SMCjOnSo03NpaAg6lSeVN9DFaM1cp2AbYYSCfSIPHkVfUMMTX9BjbCNgGyy+O08HIdiuqjQDGyyup2kxl7nNLtm+JxAP1b3t1WQT6qOKW8hHoAYu5OOFm48Vei1UgnBb8kTqRlCTUr+pMKoNgE4jkMRye2M2PZZUmmNatqCRsUcwLm7AkvsFjnDo543VtNrtSx0ohYxzwHDZhcPmgA2wtfpk9VuKoqzSM8rTswQwMPF7Gt/GC4+ARp4bFTvnSjrz8utxpToQs1r8/wAGbp5NJygtbUydE7LvnLG/2hic+am1tr60tbJI8RBg2fmXPaXbRHpWdj/cqypXiHa+fxedpxYwG7jnYuU7278W2Jphy2cP6GqC7NxN2pNKPq7lXi8OldJ39NCi1F1skhkET3gROcXOc5jpCDsWFrG9rtaLL0KDWWN17zsGJt8xIMOBxKoYdWpLdGiePtYeshEt1cn/ANMwdrx6torVDCKEbOojJPFRbvb7F9FpmG+NWz7jh7CqnQUscLZA6drS6QuGyHPBBAF77vA4ZIYaCmvYRR3GYxJ8gVJ+jNQBfcgA8dl9vHYTd2jzn9Ad5jbb6li/TUPCpJ7IXn/jVHrDrKWwO3Ekm82hs/NAdHaFziM7IpmhJNqzmRmxFxcg2724JrtXpT+rgPY9o9dk3d47Zwd6h8Op5Nu3vfZ210nZkG2JxNlv4hW7ot3jHXaWgkWLQRYFuyBYhWUursgxNM09bXtP+9RSwyMHShnaOYLyPaFkXZ8o/wCOotfO5pjjaUvFG/o0ZbR8dRFUNc9xlMZLA10htcsJ+kcMCtKzWT0RJHsF2VntIscr4qukggc/ac57X3uSSQb2tc2N8sE2bVlsgu2Qvtl0ybDvv7EY4XFUlaGV/N7hlXw8n/K6Luh0oJr7sA2a1xNwbBxcMevo5dYUkBO7Zg49BuIA+qMc1ZahaWpKGndDWU5ftSF++3bH2aWtAaTe9gWk4fWyWrp/zXUFrYHsF8A0OMZFhgNl+SR4irS/ywfyV0dwoz8DRgW1Qde30XFpwyIANjbLAhNmNsDYHkRb1hei/wD5dGC90crxvHbdnAOAOy1tha2FmjmqfSOoE7L7Oy8Z9HPwNvJGljac1rJJ/HQWeHlHZGIeDwt3WQUwPV4K001SOgaXlti0jbFi0uaTskbJGLsQQc8LZFRzU5+qVtV2Zm0ikkZ1DwVfNH+6ruVzRm4DtNkJK1p4jxCVxY8ZlVYcvjwUL2i+Xq9ys3QjqUD4FJxLZwK45eQSRO4SQsHMgc0fEuHn7lNTw29E3PUL54FHUk0Lc4wT1m/rV/R62MjHQiYO5Qk5R8Mb9DXGEH4pWLX8ltFGyo2qqN9sN2XNAbtcdoHPBaL8pdJDUGMUwAkOLnA7PRFwRs5XuWm+az2j9baeR96ohrQM+m61zY7DG8bHyQunNbqa4bQwOcQLGSRoaTcnIXJ4cbLxJ1KyxalbRfvmb8lHhWuDs1Ykbm3vLr+V7LklNsEOfsDZvYmwtfOxVBpHWSoJs55bfgMBxVHPUuNy437Tf1r2lj2t/seZPDQe1+psjrLHH6L75mzBxOeOA70qX8p0sLw+IAkXsJC545YtBHrWSpKIuxsTdXujdV5JPQZhzOCqqvGheSWV+YsaThK0b3G1utVVUyFzjYvOTeg255Naj2aLbGP8VKS7PdxZ449J3/SlboUQu6eJHLCx96utV9G0ZlJqnvzuARgftOGXh3helQqxhT0ei5JfaxixMZ5tgHR9tiQxQPjDWk7cbQ9/LFzuuyf8npyyKSRz5S/YuN5sh17B7QS3okYm1/o2vjdeuxth3WxEGCO3ostYgjjbPtKzddQxvptzIA4XJsccbni2xywwxWPvk6jbgrfu5BZIeIi0RRwC+7pmsLbZhrnd7rm3iraKmeeLrcg3a8MUJo5hDQA5gywxONhxz4eSLfUTta626sDm0FxAOGIcbZqVRyb0+v5I2i38Du4YfTL744Pa1vV1lObouI/QafJVm1I43keXnnYAAcgBgETE8jJc4SS8X79Cd1fYtKbRsQOEQ8T71ZvlJaWuYNngOFvi6o6epdcKxqKvoMtmAQfFYqkJOSvqaqc0osFl0XEf1TO9QO0ZH9Rg7AENNWu5oSSqdzWuFOf+xklKL5Br6NoPRsAQcMM7i2Y6yhKia1xvO7ZA9SEM5viV2aMPGePrWiNOz/kyNwWeibLfaa2TqIDvC4uFn6/UppdeDbidmM3Mvy5hXgbsnB1kYypJzd5laneOx0ZShszAVLqqn/z2bbR9IY/1DEd6UNVDKMOieRz7Rwd61ta3ZbiZWgcQSDtDkshpWnpnPD2sNwbkNOy13by7lWNS6NVOTnvG3xWxLDpuqon7MM72DMAOuwj7Drt8lrtC/leJIbWRg8N5HgeV3MOB7iFgKuYyOu7sAGQHIKJlOScAslbDUa/jivXmejTqTp8z23SkcFXFG8BkrcC0kA7JHbi1w7lSzatQuvg5vItdgDfMg3uLLL6r6Z+TP6bjuQx29IBIGzi19hjgSR2EreQVcczA+F7ZGHJzTcdmHHqzX5XEqrgqrjTm7fvyPaoKniKac4q5ltIajgjozRvHJw+PUstpDUJwyZ3xv/2u9y9Qkd1ISVg5J6fa+IWkrS9V/wCWOfZ1L3br0Z4zW6syx8/52lvnkqyane30mYcxl4he2z4ZNJ52tl3kXVbVUFO/02NaT9Zux/VgPNbIdrQl4otej/5+SLwU47Sv6r9+x47vQkvVXamU5xDTjydfzskqe0aHnLp+Re61PJdfwecxULjkxxPXhwzU40K84OsBx8Vqw0IaobivOVSpPxSZpyRWyKeHQjB6XS7UZumsGAAUpKHqn4J00g2KTS/pA/HFVTlYaVmBIAzGarSy6hOV2LY2WrtOAxpIvjdayOIs6UDjYjFj8fBwzHgszq/IDEwjlbsIwI8VrabIJI4idPRP5cjQoRZU1kbnG5bbsxCCf0RexWvZGDmE46Pacwt8O1cqs4meeDzO6Zgm6aeTYPYzs6Lu7asfUizPUuIcyoc3ZzBO0H4k3N3Zm9uAwyWrl1ejdm0eCCl1IhOTAOzDyCvDteO0orq0QngG9b9Vczn6Z1cDw0uhm/dLTtDtEdloItb5pANsbLb32GWaO8WN++67FqW1g6At3D2J51dcMlpp46i3dtff6mWeA/r/AMDY9amcY3dxB9yKj1ph4h47h71TfmF/JL8yv5KveKD95dSPs+3JmgZrRB+/93+6kfrVDbN33VmvzPJyXfzQ/wCqUOJQfvLqDuPwZcS6yRHg/wAB70LJrGzgx3kPaghod/Jc/Mj+SdYigveXUHs7+rJJdYeUfi7+ygOsL/osaPE+1SjV9/JObq45B46gveQ67N/qV0+l5XcQOwBCyVLzm4+K0DdWjxUzNXgM1KXatCOzLx7OlyijJmEnrXBSE/F/UtkNDMHBO+RtGQWWfbMPdiaF2c+bMhFolx4HvwRsWh+Z7hgP7q+kaAhHzAHFZKnalaei09C8cFTjvqCaRhbHSzfvMLe24ssLoLWCalfvIH2vbaYcWPHJ7ePbmOBWh1p0v82QMh5k4BYmLAJ8K7pqeuYWvo1l5HuurusUddDts6L22EkZNyxxyx4tONj7QUdJGvGtStMmnroiD0ZHCKQc2vIF+42PcvbpIl5WLpKjUtHZm2hUc467laY+l3D1n3rojU5b0z9lvrco56hjLbbg2+V+OQ9oWa5ZgrtGRk4xs+4PckrBliLggjmMV1HMxDzpwUL23RDlE5blIzgJYmSRXU5T2Rqc5saKMfpCi2DjjzPO/FBNK3ddogSR3A6Qv3jkspU6KczG2HmhCotmdKm90LRmkXROu3Fp9JpOB6weBW50Nppko6DseLDg4do5dYwXn7HW+MVK1/dbI5EHqPBM9To6HrUFSjI5gvM6LWSaPMiQcn5/fGPiCr6i10j/AFjXs67bbfFvS/pUnAspG0EimY9Z6j03DL/lysceQcL97cwj2zKTiOpXLcPUgKrI5zzVjvWiEfXLv6be9AYe2RODkCJ05tQuOsHbaW9PM+KFEy6JV1wWCC9NLlEZAo3SrjrBd00qAziyfUSN2Gnjx8UAnXOUD5Qhn1KFkqUyQGwuSoCElqlT12skLMHSsvyado/dbcqjrNch+qjc7rf0B7XeQVFAk5mkqazrWd0vptkdwTd31Ri7v5dpsqCt01NJm/ZH1Y+j/V6XmFWbNslojAjKTH1ta6V134Aei0YgdZPE9aguk5qI0fop8rgGgrSqipq7IZHJ2QXqvo901ZC1v7Rp7AHAr6DmYsv+Tz8n4jhM0hIe64YWmxaAbFxPPAixwz5q6rZ3wG0nTZ9doxH2mD1t8AvLxFV1ZX5GulFR05jy3pHsHrchNI6KbM0A4OHouztlcFtxcG2Snjrmu6TTtNItduOV+Xap2Sg5YhZ72LMpY9AuAttW6mveB3Dgkr26SbMLY8xKicpCVG4rY2Zwe2KIjaoWtxRDFOQyC4G9EqKSga+981ND6JUkBxKm0mtSkW09DN6Q1c6u9U82iXt4XXoTA652gC3gAMQOu5sfLvTJNFseLj47kM047allkluecbJBxFlM1wWuqdXMDhfs9ypp9XiDyR7wveVhuD/qyrdZ3pAHtCIp6p7PQkkZ1Ne633SSPJddox7Uz5O4cE/Ei9mDhPmiyh1hqBlMHfbjafw7JR0WuFQM2wu++z2uVBuncQnsHV5IXBk9TSs10kHpQNP2ZvfH7VPHrvzgf3PjPrIWXZ4JxPYV1/gdl+JrW67D/Tzd26P/ACLn6dsBtuJ72vlFle37VZUSJgm+d/8AWfxBBa8gONuZrXa8t/083eYh/wAiik12PCnf/NIweq6zTpOtRl6J1viX8musv0YWD7UpPqjQkuttS4ZxN7Gud5l9vJVBKYQeRTIGUMm01UO9Kd4+wGM8w2/mq+d23/mFz/tvc/ycSFKIHHgu/IXHgmzpcwcO/IFBsLAC3JMe5WEWiHO96sKXVkuzBSPEU48xlQmzNEXyUsdA91rDNbmj1SA9JXMGjI48SB2n2BI8VJ+FB4MV4mY/Q+ocklnOBDb5kYX5XW3ptXWU7G7IBcb3PuVkI3Pitd8cfAtFnOPV9QdeZ6lEHF1rm+A+OpRk3LWTDGy8KL3Q2kQymDTmNrH+Y5hUml6/bv8AA/suS3DQBgRfzPH48clVVLyc8D8fHuyU899xo00tfMr31L43lzCWnjbI9oyd349atNH6zNcfnfm3fWHon7V/R77jrVZO08fj4+LZoCaDiPj4+LqyaaFlE9CZOSARskcCCcfI+tdXmzZHDAEjqBcPIYJLtBLMcXJhSSWpmVDOKlYUkkoQuE4H44KSA4lJJKOg2MqXdg48eYwKSSDKokj2rcHAdx9x8kmvY/C2I4EfASSQcU1cKbUrEMuh2HhZCyauDgkkouETQpyXMgOgu9QS6EI4epJJSnBR2KRm3uDnRoHBL82NXUll4klzNKirHfzQEM7Rjd9a36sH+shJJNGpLXUWcI6E40W1OGib5AeSSSnxZ+Y3DiPZobq9SIj0A7kPFJJUpylN6sSaUVogqLV7mQjItXWjNJJaVSiZnVkGQ6LjbwT5qhjLDicgBn7EklaMIrYjOTtcY/bPJg+8fcPNOp4ADfM8ziUkkzFRqJB/hh2rPUoy7kklAMS5NAHAWtc4d5F7dWHcePNVdTo4Y9hPcMCe7x5EjBJJZpaDwkyrn0fb1W6ziBy9nYq2akPDrPhn8eZXUk8Wy1roCcwcQkkktJE//9k="/>
          <p:cNvSpPr>
            <a:spLocks noChangeAspect="1" noChangeArrowheads="1"/>
          </p:cNvSpPr>
          <p:nvPr/>
        </p:nvSpPr>
        <p:spPr bwMode="auto">
          <a:xfrm>
            <a:off x="143609" y="-691885"/>
            <a:ext cx="2417885" cy="1452563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33804" name="AutoShape 12" descr="data:image/jpeg;base64,/9j/4AAQSkZJRgABAQAAAQABAAD/2wCEAAkGBhQSEBQUEBMVFBQUFRQUFBUUFRgVFxQUFRQVFBUVFBQYHCYeFxkjGRQUHy8gIycpLCwsFR4xNTAqNSYrLCkBCQoKDgwOGg8PGiwkHxwsKSwsLCwpKSwqLCwsLCwsKSksLCwsLCksLCwsKSwpKSwsKSwsLCksLCksLCkpLCwpKf/AABEIALcBEwMBIgACEQEDEQH/xAAcAAABBQEBAQAAAAAAAAAAAAAEAAIDBQYBBwj/xABHEAABAwICBgYFBwoGAwEAAAABAAIDBBEhMQUGEhNBUSJhcYGRoTKxwdHwFCNCUnKSsgcVFkNTYnOCouEkM1TCw/Fjg+IX/8QAGwEAAwEBAQEBAAAAAAAAAAAAAQIDBAAFBwb/xAAyEQACAQIEAwUIAgMBAAAAAAAAAQIDEQQSITETQZEFFDJRcRVCYYGhseHwImIzUsHR/9oADAMBAAIRAxEAPwDy0NTg1ODVIGr6DGJ5LYxrU8NTwxSBivGIjkRhie1ilbGntYrJCOREI1II1K1ieGJibkRCNODFMI08RrhMxCGJwjU4jTxGuuK5EAjThGpxEniJdcXMDiNdEaJEa6I0LgzA4jXd0id2nCNdcXMC7pd3aK3aW6QudmBd0lukVukt2uuDMC7pLdIrdpGJdc7MBujXDGinx4LpjXXDmAzEmmNGGNNMaNw5gMxphjRpjTTEuuMpARjTDGjXRKN0a646kBlijdGjDGmGNAdSBN2kid2khYOYrWtTw1PaxStjUkijkMbGpWsUjY1I2NVSJuRG1ikbGpWxqRsaNybkRNjUjY1M2JSNjXXJuRAI04R4+PsRAjTmx4+PsQuK5EIjTxGiBEpBChmEzAojTxEihCniBK5oFwQRJwiRggTxTpXUQLgQiXRCjxTpwp0vFOANyluVYinXfk6XinalduUtyrH5Ou/Jl3FO1K3crm5Vl8nXDTruKdqVj4cCuGFWElPgUjAjxDiuMSYYlYmBMdCmUwXK8xJpjRzoVGYk2YNwJ0ajMaOMSY6NG46kAuiUbokcY0x0aOYdSAdhJFbpJdmGzlQ2NTMjTmsUzWIFXIY2NStjUjI1M2NG5JyI2xKVsalbGpWxIXJtkLY1I2NTtjUrYUuYm2DtiUjYce73ItlOpWQY9w9ZU3UOBWwKVtOjWU6mbTKMqp2UAbTqVtOrBlMpW0yi6w6iVzadSCmViKdPFOpusHKVzaZOFMrIU6cKdTdYNitFMnCm6lZfJ135Ol4obFZ8mS+TKz+TpbhdxTrFWaZcNMrT5OuGnR4oLFPNTdE9i46nVnUxAMcTkGuJ7gSnGnTKsdlKc06jdTq4dTqJ1OqKsK4lM6BROgVw+nUD6dWjVEcSpdCo3RKzfCoXQqyqC7Fc6JROjVg6JROjT5hkwDdpIvdpI5hrlKyNTsjTo2KdjEcxRsY2NTNiUjIlOyJK5E2yJkSmZCpo4UTHCkcxAdkCJjp0THAi46dZ51RkgOOmToqb50/YZ+J6s46dKKD5538OP8cqyyrFYxI2UylbTo5lOpm06zyrBsANp1I2mR7adStgUnVDYr20yeKZWAhThCpuqNlYAKdOFOjxCnCFJxQ5GACBd3CP3SW6Q4gcgBuEtwj9yubpdxAZAAwJpgVhuU0xI8Q7IU2koPmZf4cn4CpTAi9IRfNSfw3/AISuxx9Edg9SdVAZdAB0CidArN0SjdCqKoLYqnwId8Ct3RIaSNXjUFaKl8KHfCrWSNDPYtMahForXxKF0asHsUEjFZTAkA7pJEFqSfONYoY2IiNijjCKjCLmVaHxxomOJciai4mKbqCuIo4kVFCuxRoqONRlUFyiigRkVOuRMRsTVknMpFHI4UyGH5938KP8cyPY1MhZ/iH/AMKL8c6xymXjAlbCpGxIfSsVRsf4Qwh/HfNeR1W2SLHtuvNdaKrS8QvPJIxhNrwBjGY85GG47zdTTzcy0KDkepTObGNqRzWN5vIaPE4KkqdftHx32qqMkcGbUnhsAjzXidQ0uxlkdI45XJcfF3rwURpSMTiOOzmO7jbq8FTLTXik/kjTHCM9y0Lr5RVAFp2RvP6uU7Dr3wxdYG/UeK0oi818yUULpAMLDDE8iOAzPqWj0fXVdLjTVEjWjHZHSb/NEbgjsCSUabV4S6pj91ke97pRUtRHJfdSMk2SWu2HB1iMLG2WSyGouvM1VKIahkdyxzhIwFt9kfVuWnut2K41drDHT1kkj9oRVNbmA3COR5xI4n/pZG2mLwbaNF9ulVac1jpqMXqZmsPBuLnnsY27u+1l5rpjXOuqrhswgjPCFuzcfxCds9xAWUl0He52y5xzNr3PWb3K0QpxfikP3aXNHoj/AMs1LvtkRzGHZxk2QHbd+DC70bX61f6N/KBQTkBlS1rj9GUGI+LwAe4rwd1I8P2C2xILgSbCwIF+fdbiFLLSWtjfnbPu5quWjLZvoc8MfSrWgi4IIORGIPYVwxr570IKgPAoZZg4/RhLgT/K3A969Q0IdMNtvjA9v/mADvGE+sFTlTy7SIyo2NZWRXjeObH/AISo6ZvzbD+438IXZJjuzt2Dtk32SSL24EgEjuQ1HU/Mx/w4/wAAQimQcdAlzVC4KKSs60LJXK0Ysm4k8hQkpUEtf1oOXSHWFpjGwnCbCZLIeRwQUukRzVDpPXOGI22i93JmNu05BXVzlh2zRSSDmhZJgsdL+UFuNondWIQU+vhPoxeL/cE2dLmUWFkbczhJYL9OT+y/r/8AlJDjw8xu6y8iIa7MGTHnlkL+eCsaXXSAjpOLTYXBaczmLgcFgp6dzHFr2lrmmxBFiDyIXIotomxAsCcSBkCbAnM4YDiV4i7QrLXQ9N4WmerU+n4jlKz77ff1FHRacjsTvGWBsTtCwPK9814xZOI4fF1b2lLnEn3OPme50+l2n0XNOF8CDhzw4I2DSzTkQezFeANcRkSL4G2GHak15GRI7DbPND2hfeP1/AO5x8z6Kj0qOaKj0uOa+fqPWepiADJnWAsA6zgB1bQKOg1+q2i2212N7uYL9gtYW9ydYuk90wd0PfI9MDmuQ6WG/eb/AKqIf1ze9eM0H5SZA0CZtzxc0ADq6KuKPXFr3bQkjbdjRZ7g21i4kdIjEbSvCNKqv4yXz0Julk3TPX2aVbzClNexwIdYgixBsQQcwQcwvMaXTT5BeN0LuyRh8tpWDX1X1B4t96d4NPmuomaC8+hoTqdo4uLjTtueT5AOwAPsB1BPk1P0eWOa2FrS4FodtyO2SRYOsX2Nr37lnwar6rfvN96ds1Vsm/eHvSvCf2XUoqy+PQuNB6tUJpINqCMuMMO067gSd20kkh3MnxRTtVqHhGW/Zkf7XFZfRkVTuYrbIG7jtdwy2BZF7iq5s+8lWEVvEupR10nz6F/o3QlLTzb6LbDwHD0rtO0LG4tietRasaXaGVQdiDW1hsRcEGXiFRup6vgWff8A7LP6Gmqi2UwtDx8olLhthpu521fpW5hDukbpZkdxVLXU9POmYh9Bv3AmnWZoyHksLC2rc6z27A57bHeQKC0noWqkuDNGG8g53nZqrHCUm9WI6i+JrK3Tsb6yOR4uY4X7N7YFz2gnHHK/jxTanWSmPpNgPa2M+tebVGqcm8s6WP0C4kl1rbQGJI60w6mSZiWLu2vcqxwtFcwOZ6NDrTCwHdbpjczu9ho7TsqCTXhn7Rv3gvPhqZJ+1j8He5Nk1Qk/bM8HKvApIXMmbmbXeMg/Os+8FXs15ja1rdvFrWjAOOQAtgM8Fkhqk8ZzN8CufoyXY70Yi/ok4HHmiqdO+x10ax+usf7QefqshJ9do7elfqAN/Us7+ivOYdzPe5Ru1a/8o+5/9JrQ5I66LGfXw/Rj+873BU1VrTO5195sDgG2AHjn3ogaFAzfllZoHrOOPNDGgDT0XnjmAbXwvnn1qUpNbRHWXzK6XSUjr3keb53c4380LvFbSUotja/PYbc9vx4oURBrr5nr2SOONiLHhn/1CUqnkVWUFdTvte2BNhYg42vwKHfcHFXEU2yXFtwSCMNkAX2T6IbYjDI4IGdoJJN7m/EYdwFllfEb1K/xSArrql3HakkySBdENbSOikcx9tppsbG4yv7Ubq7osVExjc8xjdTyXAvcxQvlDbdZZZN0w/eTvdzI9QHsRervQnDv3JR96F7f9y8+NOUkPOdloUzWEp4pCrWj0aTawR7tElo6QstkMInuI6jRnm0JPJPbo4nj5LRw0Q5KXchoFhcuNmjmT7ALk9i0rBR5kXiHyKak1e2m+kb35Kyp9UAc9pXei9HmQdHeHFzcOji0kHLhhz4rZ6sauRNlaayI7s3ttXN3WuL8SMCjOnSo03NpaAg6lSeVN9DFaM1cp2AbYYSCfSIPHkVfUMMTX9BjbCNgGyy+O08HIdiuqjQDGyyup2kxl7nNLtm+JxAP1b3t1WQT6qOKW8hHoAYu5OOFm48Vei1UgnBb8kTqRlCTUr+pMKoNgE4jkMRye2M2PZZUmmNatqCRsUcwLm7AkvsFjnDo543VtNrtSx0ohYxzwHDZhcPmgA2wtfpk9VuKoqzSM8rTswQwMPF7Gt/GC4+ARp4bFTvnSjrz8utxpToQs1r8/wAGbp5NJygtbUydE7LvnLG/2hic+am1tr60tbJI8RBg2fmXPaXbRHpWdj/cqypXiHa+fxedpxYwG7jnYuU7278W2Jphy2cP6GqC7NxN2pNKPq7lXi8OldJ39NCi1F1skhkET3gROcXOc5jpCDsWFrG9rtaLL0KDWWN17zsGJt8xIMOBxKoYdWpLdGiePtYeshEt1cn/ANMwdrx6torVDCKEbOojJPFRbvb7F9FpmG+NWz7jh7CqnQUscLZA6drS6QuGyHPBBAF77vA4ZIYaCmvYRR3GYxJ8gVJ+jNQBfcgA8dl9vHYTd2jzn9Ad5jbb6li/TUPCpJ7IXn/jVHrDrKWwO3Ekm82hs/NAdHaFziM7IpmhJNqzmRmxFxcg2724JrtXpT+rgPY9o9dk3d47Zwd6h8Op5Nu3vfZ210nZkG2JxNlv4hW7ot3jHXaWgkWLQRYFuyBYhWUursgxNM09bXtP+9RSwyMHShnaOYLyPaFkXZ8o/wCOotfO5pjjaUvFG/o0ZbR8dRFUNc9xlMZLA10htcsJ+kcMCtKzWT0RJHsF2VntIscr4qukggc/ac57X3uSSQb2tc2N8sE2bVlsgu2Qvtl0ybDvv7EY4XFUlaGV/N7hlXw8n/K6Luh0oJr7sA2a1xNwbBxcMevo5dYUkBO7Zg49BuIA+qMc1ZahaWpKGndDWU5ftSF++3bH2aWtAaTe9gWk4fWyWrp/zXUFrYHsF8A0OMZFhgNl+SR4irS/ywfyV0dwoz8DRgW1Qde30XFpwyIANjbLAhNmNsDYHkRb1hei/wD5dGC90crxvHbdnAOAOy1tha2FmjmqfSOoE7L7Oy8Z9HPwNvJGljac1rJJ/HQWeHlHZGIeDwt3WQUwPV4K001SOgaXlti0jbFi0uaTskbJGLsQQc8LZFRzU5+qVtV2Zm0ikkZ1DwVfNH+6ruVzRm4DtNkJK1p4jxCVxY8ZlVYcvjwUL2i+Xq9ys3QjqUD4FJxLZwK45eQSRO4SQsHMgc0fEuHn7lNTw29E3PUL54FHUk0Lc4wT1m/rV/R62MjHQiYO5Qk5R8Mb9DXGEH4pWLX8ltFGyo2qqN9sN2XNAbtcdoHPBaL8pdJDUGMUwAkOLnA7PRFwRs5XuWm+az2j9baeR96ohrQM+m61zY7DG8bHyQunNbqa4bQwOcQLGSRoaTcnIXJ4cbLxJ1KyxalbRfvmb8lHhWuDs1Ykbm3vLr+V7LklNsEOfsDZvYmwtfOxVBpHWSoJs55bfgMBxVHPUuNy437Tf1r2lj2t/seZPDQe1+psjrLHH6L75mzBxOeOA70qX8p0sLw+IAkXsJC545YtBHrWSpKIuxsTdXujdV5JPQZhzOCqqvGheSWV+YsaThK0b3G1utVVUyFzjYvOTeg255Naj2aLbGP8VKS7PdxZ449J3/SlboUQu6eJHLCx96utV9G0ZlJqnvzuARgftOGXh3helQqxhT0ei5JfaxixMZ5tgHR9tiQxQPjDWk7cbQ9/LFzuuyf8npyyKSRz5S/YuN5sh17B7QS3okYm1/o2vjdeuxth3WxEGCO3ostYgjjbPtKzddQxvptzIA4XJsccbni2xywwxWPvk6jbgrfu5BZIeIi0RRwC+7pmsLbZhrnd7rm3iraKmeeLrcg3a8MUJo5hDQA5gywxONhxz4eSLfUTta626sDm0FxAOGIcbZqVRyb0+v5I2i38Du4YfTL744Pa1vV1lObouI/QafJVm1I43keXnnYAAcgBgETE8jJc4SS8X79Cd1fYtKbRsQOEQ8T71ZvlJaWuYNngOFvi6o6epdcKxqKvoMtmAQfFYqkJOSvqaqc0osFl0XEf1TO9QO0ZH9Rg7AENNWu5oSSqdzWuFOf+xklKL5Br6NoPRsAQcMM7i2Y6yhKia1xvO7ZA9SEM5viV2aMPGePrWiNOz/kyNwWeibLfaa2TqIDvC4uFn6/UppdeDbidmM3Mvy5hXgbsnB1kYypJzd5laneOx0ZShszAVLqqn/z2bbR9IY/1DEd6UNVDKMOieRz7Rwd61ta3ZbiZWgcQSDtDkshpWnpnPD2sNwbkNOy13by7lWNS6NVOTnvG3xWxLDpuqon7MM72DMAOuwj7Drt8lrtC/leJIbWRg8N5HgeV3MOB7iFgKuYyOu7sAGQHIKJlOScAslbDUa/jivXmejTqTp8z23SkcFXFG8BkrcC0kA7JHbi1w7lSzatQuvg5vItdgDfMg3uLLL6r6Z+TP6bjuQx29IBIGzi19hjgSR2EreQVcczA+F7ZGHJzTcdmHHqzX5XEqrgqrjTm7fvyPaoKniKac4q5ltIajgjozRvHJw+PUstpDUJwyZ3xv/2u9y9Qkd1ISVg5J6fa+IWkrS9V/wCWOfZ1L3br0Z4zW6syx8/52lvnkqyane30mYcxl4he2z4ZNJ52tl3kXVbVUFO/02NaT9Zux/VgPNbIdrQl4otej/5+SLwU47Sv6r9+x47vQkvVXamU5xDTjydfzskqe0aHnLp+Re61PJdfwecxULjkxxPXhwzU40K84OsBx8Vqw0IaobivOVSpPxSZpyRWyKeHQjB6XS7UZumsGAAUpKHqn4J00g2KTS/pA/HFVTlYaVmBIAzGarSy6hOV2LY2WrtOAxpIvjdayOIs6UDjYjFj8fBwzHgszq/IDEwjlbsIwI8VrabIJI4idPRP5cjQoRZU1kbnG5bbsxCCf0RexWvZGDmE46Pacwt8O1cqs4meeDzO6Zgm6aeTYPYzs6Lu7asfUizPUuIcyoc3ZzBO0H4k3N3Zm9uAwyWrl1ejdm0eCCl1IhOTAOzDyCvDteO0orq0QngG9b9Vczn6Z1cDw0uhm/dLTtDtEdloItb5pANsbLb32GWaO8WN++67FqW1g6At3D2J51dcMlpp46i3dtff6mWeA/r/AMDY9amcY3dxB9yKj1ph4h47h71TfmF/JL8yv5KveKD95dSPs+3JmgZrRB+/93+6kfrVDbN33VmvzPJyXfzQ/wCqUOJQfvLqDuPwZcS6yRHg/wAB70LJrGzgx3kPaghod/Jc/Mj+SdYigveXUHs7+rJJdYeUfi7+ygOsL/osaPE+1SjV9/JObq45B46gveQ67N/qV0+l5XcQOwBCyVLzm4+K0DdWjxUzNXgM1KXatCOzLx7OlyijJmEnrXBSE/F/UtkNDMHBO+RtGQWWfbMPdiaF2c+bMhFolx4HvwRsWh+Z7hgP7q+kaAhHzAHFZKnalaei09C8cFTjvqCaRhbHSzfvMLe24ssLoLWCalfvIH2vbaYcWPHJ7ePbmOBWh1p0v82QMh5k4BYmLAJ8K7pqeuYWvo1l5HuurusUddDts6L22EkZNyxxyx4tONj7QUdJGvGtStMmnroiD0ZHCKQc2vIF+42PcvbpIl5WLpKjUtHZm2hUc467laY+l3D1n3rojU5b0z9lvrco56hjLbbg2+V+OQ9oWa5ZgrtGRk4xs+4PckrBliLggjmMV1HMxDzpwUL23RDlE5blIzgJYmSRXU5T2Rqc5saKMfpCi2DjjzPO/FBNK3ddogSR3A6Qv3jkspU6KczG2HmhCotmdKm90LRmkXROu3Fp9JpOB6weBW50Nppko6DseLDg4do5dYwXn7HW+MVK1/dbI5EHqPBM9To6HrUFSjI5gvM6LWSaPMiQcn5/fGPiCr6i10j/AFjXs67bbfFvS/pUnAspG0EimY9Z6j03DL/lysceQcL97cwj2zKTiOpXLcPUgKrI5zzVjvWiEfXLv6be9AYe2RODkCJ05tQuOsHbaW9PM+KFEy6JV1wWCC9NLlEZAo3SrjrBd00qAziyfUSN2Gnjx8UAnXOUD5Qhn1KFkqUyQGwuSoCElqlT12skLMHSsvyado/dbcqjrNch+qjc7rf0B7XeQVFAk5mkqazrWd0vptkdwTd31Ri7v5dpsqCt01NJm/ZH1Y+j/V6XmFWbNslojAjKTH1ta6V134Aei0YgdZPE9aguk5qI0fop8rgGgrSqipq7IZHJ2QXqvo901ZC1v7Rp7AHAr6DmYsv+Tz8n4jhM0hIe64YWmxaAbFxPPAixwz5q6rZ3wG0nTZ9doxH2mD1t8AvLxFV1ZX5GulFR05jy3pHsHrchNI6KbM0A4OHouztlcFtxcG2Snjrmu6TTtNItduOV+Xap2Sg5YhZ72LMpY9AuAttW6mveB3Dgkr26SbMLY8xKicpCVG4rY2Zwe2KIjaoWtxRDFOQyC4G9EqKSga+981ND6JUkBxKm0mtSkW09DN6Q1c6u9U82iXt4XXoTA652gC3gAMQOu5sfLvTJNFseLj47kM047allkluecbJBxFlM1wWuqdXMDhfs9ypp9XiDyR7wveVhuD/qyrdZ3pAHtCIp6p7PQkkZ1Ne633SSPJddox7Uz5O4cE/Ei9mDhPmiyh1hqBlMHfbjafw7JR0WuFQM2wu++z2uVBuncQnsHV5IXBk9TSs10kHpQNP2ZvfH7VPHrvzgf3PjPrIWXZ4JxPYV1/gdl+JrW67D/Tzd26P/ACLn6dsBtuJ72vlFle37VZUSJgm+d/8AWfxBBa8gONuZrXa8t/083eYh/wAiik12PCnf/NIweq6zTpOtRl6J1viX8musv0YWD7UpPqjQkuttS4ZxN7Gud5l9vJVBKYQeRTIGUMm01UO9Kd4+wGM8w2/mq+d23/mFz/tvc/ycSFKIHHgu/IXHgmzpcwcO/IFBsLAC3JMe5WEWiHO96sKXVkuzBSPEU48xlQmzNEXyUsdA91rDNbmj1SA9JXMGjI48SB2n2BI8VJ+FB4MV4mY/Q+ocklnOBDb5kYX5XW3ptXWU7G7IBcb3PuVkI3Pitd8cfAtFnOPV9QdeZ6lEHF1rm+A+OpRk3LWTDGy8KL3Q2kQymDTmNrH+Y5hUml6/bv8AA/suS3DQBgRfzPH48clVVLyc8D8fHuyU899xo00tfMr31L43lzCWnjbI9oyd349atNH6zNcfnfm3fWHon7V/R77jrVZO08fj4+LZoCaDiPj4+LqyaaFlE9CZOSARskcCCcfI+tdXmzZHDAEjqBcPIYJLtBLMcXJhSSWpmVDOKlYUkkoQuE4H44KSA4lJJKOg2MqXdg48eYwKSSDKokj2rcHAdx9x8kmvY/C2I4EfASSQcU1cKbUrEMuh2HhZCyauDgkkouETQpyXMgOgu9QS6EI4epJJSnBR2KRm3uDnRoHBL82NXUll4klzNKirHfzQEM7Rjd9a36sH+shJJNGpLXUWcI6E40W1OGib5AeSSSnxZ+Y3DiPZobq9SIj0A7kPFJJUpylN6sSaUVogqLV7mQjItXWjNJJaVSiZnVkGQ6LjbwT5qhjLDicgBn7EklaMIrYjOTtcY/bPJg+8fcPNOp4ADfM8ziUkkzFRqJB/hh2rPUoy7kklAMS5NAHAWtc4d5F7dWHcePNVdTo4Y9hPcMCe7x5EjBJJZpaDwkyrn0fb1W6ziBy9nYq2akPDrPhn8eZXUk8Wy1roCcwcQkkktJE//9k="/>
          <p:cNvSpPr>
            <a:spLocks noChangeAspect="1" noChangeArrowheads="1"/>
          </p:cNvSpPr>
          <p:nvPr/>
        </p:nvSpPr>
        <p:spPr bwMode="auto">
          <a:xfrm>
            <a:off x="143609" y="-691885"/>
            <a:ext cx="2417885" cy="1452563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3074" name="Picture 2" descr="https://encrypted-tbn0.gstatic.com/images?q=tbn:ANd9GcRlm7UODCWbyfcktS-uQLxDavstaMBQZj9tRLpHvJfInWGx_0d6xQ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2929508"/>
            <a:ext cx="360040" cy="288032"/>
          </a:xfrm>
          <a:prstGeom prst="rect">
            <a:avLst/>
          </a:prstGeom>
          <a:noFill/>
        </p:spPr>
      </p:pic>
      <p:pic>
        <p:nvPicPr>
          <p:cNvPr id="3076" name="Picture 4" descr="https://encrypted-tbn0.gstatic.com/images?q=tbn:ANd9GcRWJayJIhqMqLZOTDpP6ffLXygxD75drIXGv5YQc1uOnV4izQ2sw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15816" y="3361556"/>
            <a:ext cx="360040" cy="360040"/>
          </a:xfrm>
          <a:prstGeom prst="rect">
            <a:avLst/>
          </a:prstGeom>
          <a:noFill/>
        </p:spPr>
      </p:pic>
      <p:pic>
        <p:nvPicPr>
          <p:cNvPr id="3078" name="Picture 6" descr="https://encrypted-tbn0.gstatic.com/images?q=tbn:ANd9GcTr_6NT1nGYL1orjQt0JqTeMCEw-XmurG_9joHKtgLbygHqvgo5UQ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15816" y="2497460"/>
            <a:ext cx="360040" cy="3600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AutoShape 2" descr="data:image/jpeg;base64,/9j/4AAQSkZJRgABAQAAAQABAAD/2wCEAAkGBhQSEBQUEBMVFBQUFRQUFBUUFRgVFxQUFRQVFBUVFBQYHCYeFxkjGRQUHy8gIycpLCwsFR4xNTAqNSYrLCkBCQoKDgwOGg8PGiwkHxwsKSwsLCwpKSwqLCwsLCwsKSksLCwsLCksLCwsKSwpKSwsKSwsLCksLCksLCkpLCwpKf/AABEIALcBEwMBIgACEQEDEQH/xAAcAAABBQEBAQAAAAAAAAAAAAAEAAIDBQYBBwj/xABHEAABAwICBgYFBwoGAwEAAAABAAIDBBEhMQUGEhNBUSJhcYGRoTKxwdHwFCNCUnKSsgcVFkNTYnOCouEkM1TCw/Fjg+IX/8QAGwEAAwEBAQEBAAAAAAAAAAAAAQIDBAAFBwb/xAAyEQACAQIEAwUIAgMBAAAAAAAAAQIDEQQSITETQZEFFDJRcRVCYYGhseHwImIzUsHR/9oADAMBAAIRAxEAPwDy0NTg1ODVIGr6DGJ5LYxrU8NTwxSBivGIjkRhie1ilbGntYrJCOREI1II1K1ieGJibkRCNODFMI08RrhMxCGJwjU4jTxGuuK5EAjThGpxEniJdcXMDiNdEaJEa6I0LgzA4jXd0id2nCNdcXMC7pd3aK3aW6QudmBd0lukVukt2uuDMC7pLdIrdpGJdc7MBujXDGinx4LpjXXDmAzEmmNGGNNMaNw5gMxphjRpjTTEuuMpARjTDGjXRKN0a646kBlijdGjDGmGNAdSBN2kid2khYOYrWtTw1PaxStjUkijkMbGpWsUjY1I2NVSJuRG1ikbGpWxqRsaNybkRNjUjY1M2JSNjXXJuRAI04R4+PsRAjTmx4+PsQuK5EIjTxGiBEpBChmEzAojTxEihCniBK5oFwQRJwiRggTxTpXUQLgQiXRCjxTpwp0vFOANyluVYinXfk6XinalduUtyrH5Ou/Jl3FO1K3crm5Vl8nXDTruKdqVj4cCuGFWElPgUjAjxDiuMSYYlYmBMdCmUwXK8xJpjRzoVGYk2YNwJ0ajMaOMSY6NG46kAuiUbokcY0x0aOYdSAdhJFbpJdmGzlQ2NTMjTmsUzWIFXIY2NStjUjI1M2NG5JyI2xKVsalbGpWxIXJtkLY1I2NTtjUrYUuYm2DtiUjYce73ItlOpWQY9w9ZU3UOBWwKVtOjWU6mbTKMqp2UAbTqVtOrBlMpW0yi6w6iVzadSCmViKdPFOpusHKVzaZOFMrIU6cKdTdYNitFMnCm6lZfJ135Ol4obFZ8mS+TKz+TpbhdxTrFWaZcNMrT5OuGnR4oLFPNTdE9i46nVnUxAMcTkGuJ7gSnGnTKsdlKc06jdTq4dTqJ1OqKsK4lM6BROgVw+nUD6dWjVEcSpdCo3RKzfCoXQqyqC7Fc6JROjVg6JROjT5hkwDdpIvdpI5hrlKyNTsjTo2KdjEcxRsY2NTNiUjIlOyJK5E2yJkSmZCpo4UTHCkcxAdkCJjp0THAi46dZ51RkgOOmToqb50/YZ+J6s46dKKD5538OP8cqyyrFYxI2UylbTo5lOpm06zyrBsANp1I2mR7adStgUnVDYr20yeKZWAhThCpuqNlYAKdOFOjxCnCFJxQ5GACBd3CP3SW6Q4gcgBuEtwj9yubpdxAZAAwJpgVhuU0xI8Q7IU2koPmZf4cn4CpTAi9IRfNSfw3/AISuxx9Edg9SdVAZdAB0CidArN0SjdCqKoLYqnwId8Ct3RIaSNXjUFaKl8KHfCrWSNDPYtMahForXxKF0asHsUEjFZTAkA7pJEFqSfONYoY2IiNijjCKjCLmVaHxxomOJciai4mKbqCuIo4kVFCuxRoqONRlUFyiigRkVOuRMRsTVknMpFHI4UyGH5938KP8cyPY1MhZ/iH/AMKL8c6xymXjAlbCpGxIfSsVRsf4Qwh/HfNeR1W2SLHtuvNdaKrS8QvPJIxhNrwBjGY85GG47zdTTzcy0KDkepTObGNqRzWN5vIaPE4KkqdftHx32qqMkcGbUnhsAjzXidQ0uxlkdI45XJcfF3rwURpSMTiOOzmO7jbq8FTLTXik/kjTHCM9y0Lr5RVAFp2RvP6uU7Dr3wxdYG/UeK0oi818yUULpAMLDDE8iOAzPqWj0fXVdLjTVEjWjHZHSb/NEbgjsCSUabV4S6pj91ke97pRUtRHJfdSMk2SWu2HB1iMLG2WSyGouvM1VKIahkdyxzhIwFt9kfVuWnut2K41drDHT1kkj9oRVNbmA3COR5xI4n/pZG2mLwbaNF9ulVac1jpqMXqZmsPBuLnnsY27u+1l5rpjXOuqrhswgjPCFuzcfxCds9xAWUl0He52y5xzNr3PWb3K0QpxfikP3aXNHoj/AMs1LvtkRzGHZxk2QHbd+DC70bX61f6N/KBQTkBlS1rj9GUGI+LwAe4rwd1I8P2C2xILgSbCwIF+fdbiFLLSWtjfnbPu5quWjLZvoc8MfSrWgi4IIORGIPYVwxr570IKgPAoZZg4/RhLgT/K3A969Q0IdMNtvjA9v/mADvGE+sFTlTy7SIyo2NZWRXjeObH/AISo6ZvzbD+438IXZJjuzt2Dtk32SSL24EgEjuQ1HU/Mx/w4/wAAQimQcdAlzVC4KKSs60LJXK0Ysm4k8hQkpUEtf1oOXSHWFpjGwnCbCZLIeRwQUukRzVDpPXOGI22i93JmNu05BXVzlh2zRSSDmhZJgsdL+UFuNondWIQU+vhPoxeL/cE2dLmUWFkbczhJYL9OT+y/r/8AlJDjw8xu6y8iIa7MGTHnlkL+eCsaXXSAjpOLTYXBaczmLgcFgp6dzHFr2lrmmxBFiDyIXIotomxAsCcSBkCbAnM4YDiV4i7QrLXQ9N4WmerU+n4jlKz77ff1FHRacjsTvGWBsTtCwPK9814xZOI4fF1b2lLnEn3OPme50+l2n0XNOF8CDhzw4I2DSzTkQezFeANcRkSL4G2GHak15GRI7DbPND2hfeP1/AO5x8z6Kj0qOaKj0uOa+fqPWepiADJnWAsA6zgB1bQKOg1+q2i2212N7uYL9gtYW9ydYuk90wd0PfI9MDmuQ6WG/eb/AKqIf1ze9eM0H5SZA0CZtzxc0ADq6KuKPXFr3bQkjbdjRZ7g21i4kdIjEbSvCNKqv4yXz0Julk3TPX2aVbzClNexwIdYgixBsQQcwQcwvMaXTT5BeN0LuyRh8tpWDX1X1B4t96d4NPmuomaC8+hoTqdo4uLjTtueT5AOwAPsB1BPk1P0eWOa2FrS4FodtyO2SRYOsX2Nr37lnwar6rfvN96ds1Vsm/eHvSvCf2XUoqy+PQuNB6tUJpINqCMuMMO067gSd20kkh3MnxRTtVqHhGW/Zkf7XFZfRkVTuYrbIG7jtdwy2BZF7iq5s+8lWEVvEupR10nz6F/o3QlLTzb6LbDwHD0rtO0LG4tietRasaXaGVQdiDW1hsRcEGXiFRup6vgWff8A7LP6Gmqi2UwtDx8olLhthpu521fpW5hDukbpZkdxVLXU9POmYh9Bv3AmnWZoyHksLC2rc6z27A57bHeQKC0noWqkuDNGG8g53nZqrHCUm9WI6i+JrK3Tsb6yOR4uY4X7N7YFz2gnHHK/jxTanWSmPpNgPa2M+tebVGqcm8s6WP0C4kl1rbQGJI60w6mSZiWLu2vcqxwtFcwOZ6NDrTCwHdbpjczu9ho7TsqCTXhn7Rv3gvPhqZJ+1j8He5Nk1Qk/bM8HKvApIXMmbmbXeMg/Os+8FXs15ja1rdvFrWjAOOQAtgM8Fkhqk8ZzN8CufoyXY70Yi/ok4HHmiqdO+x10ax+usf7QefqshJ9do7elfqAN/Us7+ivOYdzPe5Ru1a/8o+5/9JrQ5I66LGfXw/Rj+873BU1VrTO5195sDgG2AHjn3ogaFAzfllZoHrOOPNDGgDT0XnjmAbXwvnn1qUpNbRHWXzK6XSUjr3keb53c4380LvFbSUotja/PYbc9vx4oURBrr5nr2SOONiLHhn/1CUqnkVWUFdTvte2BNhYg42vwKHfcHFXEU2yXFtwSCMNkAX2T6IbYjDI4IGdoJJN7m/EYdwFllfEb1K/xSArrql3HakkySBdENbSOikcx9tppsbG4yv7Ubq7osVExjc8xjdTyXAvcxQvlDbdZZZN0w/eTvdzI9QHsRervQnDv3JR96F7f9y8+NOUkPOdloUzWEp4pCrWj0aTawR7tElo6QstkMInuI6jRnm0JPJPbo4nj5LRw0Q5KXchoFhcuNmjmT7ALk9i0rBR5kXiHyKak1e2m+kb35Kyp9UAc9pXei9HmQdHeHFzcOji0kHLhhz4rZ6sauRNlaayI7s3ttXN3WuL8SMCjOnSo03NpaAg6lSeVN9DFaM1cp2AbYYSCfSIPHkVfUMMTX9BjbCNgGyy+O08HIdiuqjQDGyyup2kxl7nNLtm+JxAP1b3t1WQT6qOKW8hHoAYu5OOFm48Vei1UgnBb8kTqRlCTUr+pMKoNgE4jkMRye2M2PZZUmmNatqCRsUcwLm7AkvsFjnDo543VtNrtSx0ohYxzwHDZhcPmgA2wtfpk9VuKoqzSM8rTswQwMPF7Gt/GC4+ARp4bFTvnSjrz8utxpToQs1r8/wAGbp5NJygtbUydE7LvnLG/2hic+am1tr60tbJI8RBg2fmXPaXbRHpWdj/cqypXiHa+fxedpxYwG7jnYuU7278W2Jphy2cP6GqC7NxN2pNKPq7lXi8OldJ39NCi1F1skhkET3gROcXOc5jpCDsWFrG9rtaLL0KDWWN17zsGJt8xIMOBxKoYdWpLdGiePtYeshEt1cn/ANMwdrx6torVDCKEbOojJPFRbvb7F9FpmG+NWz7jh7CqnQUscLZA6drS6QuGyHPBBAF77vA4ZIYaCmvYRR3GYxJ8gVJ+jNQBfcgA8dl9vHYTd2jzn9Ad5jbb6li/TUPCpJ7IXn/jVHrDrKWwO3Ekm82hs/NAdHaFziM7IpmhJNqzmRmxFxcg2724JrtXpT+rgPY9o9dk3d47Zwd6h8Op5Nu3vfZ210nZkG2JxNlv4hW7ot3jHXaWgkWLQRYFuyBYhWUursgxNM09bXtP+9RSwyMHShnaOYLyPaFkXZ8o/wCOotfO5pjjaUvFG/o0ZbR8dRFUNc9xlMZLA10htcsJ+kcMCtKzWT0RJHsF2VntIscr4qukggc/ac57X3uSSQb2tc2N8sE2bVlsgu2Qvtl0ybDvv7EY4XFUlaGV/N7hlXw8n/K6Luh0oJr7sA2a1xNwbBxcMevo5dYUkBO7Zg49BuIA+qMc1ZahaWpKGndDWU5ftSF++3bH2aWtAaTe9gWk4fWyWrp/zXUFrYHsF8A0OMZFhgNl+SR4irS/ywfyV0dwoz8DRgW1Qde30XFpwyIANjbLAhNmNsDYHkRb1hei/wD5dGC90crxvHbdnAOAOy1tha2FmjmqfSOoE7L7Oy8Z9HPwNvJGljac1rJJ/HQWeHlHZGIeDwt3WQUwPV4K001SOgaXlti0jbFi0uaTskbJGLsQQc8LZFRzU5+qVtV2Zm0ikkZ1DwVfNH+6ruVzRm4DtNkJK1p4jxCVxY8ZlVYcvjwUL2i+Xq9ys3QjqUD4FJxLZwK45eQSRO4SQsHMgc0fEuHn7lNTw29E3PUL54FHUk0Lc4wT1m/rV/R62MjHQiYO5Qk5R8Mb9DXGEH4pWLX8ltFGyo2qqN9sN2XNAbtcdoHPBaL8pdJDUGMUwAkOLnA7PRFwRs5XuWm+az2j9baeR96ohrQM+m61zY7DG8bHyQunNbqa4bQwOcQLGSRoaTcnIXJ4cbLxJ1KyxalbRfvmb8lHhWuDs1Ykbm3vLr+V7LklNsEOfsDZvYmwtfOxVBpHWSoJs55bfgMBxVHPUuNy437Tf1r2lj2t/seZPDQe1+psjrLHH6L75mzBxOeOA70qX8p0sLw+IAkXsJC545YtBHrWSpKIuxsTdXujdV5JPQZhzOCqqvGheSWV+YsaThK0b3G1utVVUyFzjYvOTeg255Naj2aLbGP8VKS7PdxZ449J3/SlboUQu6eJHLCx96utV9G0ZlJqnvzuARgftOGXh3helQqxhT0ei5JfaxixMZ5tgHR9tiQxQPjDWk7cbQ9/LFzuuyf8npyyKSRz5S/YuN5sh17B7QS3okYm1/o2vjdeuxth3WxEGCO3ostYgjjbPtKzddQxvptzIA4XJsccbni2xywwxWPvk6jbgrfu5BZIeIi0RRwC+7pmsLbZhrnd7rm3iraKmeeLrcg3a8MUJo5hDQA5gywxONhxz4eSLfUTta626sDm0FxAOGIcbZqVRyb0+v5I2i38Du4YfTL744Pa1vV1lObouI/QafJVm1I43keXnnYAAcgBgETE8jJc4SS8X79Cd1fYtKbRsQOEQ8T71ZvlJaWuYNngOFvi6o6epdcKxqKvoMtmAQfFYqkJOSvqaqc0osFl0XEf1TO9QO0ZH9Rg7AENNWu5oSSqdzWuFOf+xklKL5Br6NoPRsAQcMM7i2Y6yhKia1xvO7ZA9SEM5viV2aMPGePrWiNOz/kyNwWeibLfaa2TqIDvC4uFn6/UppdeDbidmM3Mvy5hXgbsnB1kYypJzd5laneOx0ZShszAVLqqn/z2bbR9IY/1DEd6UNVDKMOieRz7Rwd61ta3ZbiZWgcQSDtDkshpWnpnPD2sNwbkNOy13by7lWNS6NVOTnvG3xWxLDpuqon7MM72DMAOuwj7Drt8lrtC/leJIbWRg8N5HgeV3MOB7iFgKuYyOu7sAGQHIKJlOScAslbDUa/jivXmejTqTp8z23SkcFXFG8BkrcC0kA7JHbi1w7lSzatQuvg5vItdgDfMg3uLLL6r6Z+TP6bjuQx29IBIGzi19hjgSR2EreQVcczA+F7ZGHJzTcdmHHqzX5XEqrgqrjTm7fvyPaoKniKac4q5ltIajgjozRvHJw+PUstpDUJwyZ3xv/2u9y9Qkd1ISVg5J6fa+IWkrS9V/wCWOfZ1L3br0Z4zW6syx8/52lvnkqyane30mYcxl4he2z4ZNJ52tl3kXVbVUFO/02NaT9Zux/VgPNbIdrQl4otej/5+SLwU47Sv6r9+x47vQkvVXamU5xDTjydfzskqe0aHnLp+Re61PJdfwecxULjkxxPXhwzU40K84OsBx8Vqw0IaobivOVSpPxSZpyRWyKeHQjB6XS7UZumsGAAUpKHqn4J00g2KTS/pA/HFVTlYaVmBIAzGarSy6hOV2LY2WrtOAxpIvjdayOIs6UDjYjFj8fBwzHgszq/IDEwjlbsIwI8VrabIJI4idPRP5cjQoRZU1kbnG5bbsxCCf0RexWvZGDmE46Pacwt8O1cqs4meeDzO6Zgm6aeTYPYzs6Lu7asfUizPUuIcyoc3ZzBO0H4k3N3Zm9uAwyWrl1ejdm0eCCl1IhOTAOzDyCvDteO0orq0QngG9b9Vczn6Z1cDw0uhm/dLTtDtEdloItb5pANsbLb32GWaO8WN++67FqW1g6At3D2J51dcMlpp46i3dtff6mWeA/r/AMDY9amcY3dxB9yKj1ph4h47h71TfmF/JL8yv5KveKD95dSPs+3JmgZrRB+/93+6kfrVDbN33VmvzPJyXfzQ/wCqUOJQfvLqDuPwZcS6yRHg/wAB70LJrGzgx3kPaghod/Jc/Mj+SdYigveXUHs7+rJJdYeUfi7+ygOsL/osaPE+1SjV9/JObq45B46gveQ67N/qV0+l5XcQOwBCyVLzm4+K0DdWjxUzNXgM1KXatCOzLx7OlyijJmEnrXBSE/F/UtkNDMHBO+RtGQWWfbMPdiaF2c+bMhFolx4HvwRsWh+Z7hgP7q+kaAhHzAHFZKnalaei09C8cFTjvqCaRhbHSzfvMLe24ssLoLWCalfvIH2vbaYcWPHJ7ePbmOBWh1p0v82QMh5k4BYmLAJ8K7pqeuYWvo1l5HuurusUddDts6L22EkZNyxxyx4tONj7QUdJGvGtStMmnroiD0ZHCKQc2vIF+42PcvbpIl5WLpKjUtHZm2hUc467laY+l3D1n3rojU5b0z9lvrco56hjLbbg2+V+OQ9oWa5ZgrtGRk4xs+4PckrBliLggjmMV1HMxDzpwUL23RDlE5blIzgJYmSRXU5T2Rqc5saKMfpCi2DjjzPO/FBNK3ddogSR3A6Qv3jkspU6KczG2HmhCotmdKm90LRmkXROu3Fp9JpOB6weBW50Nppko6DseLDg4do5dYwXn7HW+MVK1/dbI5EHqPBM9To6HrUFSjI5gvM6LWSaPMiQcn5/fGPiCr6i10j/AFjXs67bbfFvS/pUnAspG0EimY9Z6j03DL/lysceQcL97cwj2zKTiOpXLcPUgKrI5zzVjvWiEfXLv6be9AYe2RODkCJ05tQuOsHbaW9PM+KFEy6JV1wWCC9NLlEZAo3SrjrBd00qAziyfUSN2Gnjx8UAnXOUD5Qhn1KFkqUyQGwuSoCElqlT12skLMHSsvyado/dbcqjrNch+qjc7rf0B7XeQVFAk5mkqazrWd0vptkdwTd31Ri7v5dpsqCt01NJm/ZH1Y+j/V6XmFWbNslojAjKTH1ta6V134Aei0YgdZPE9aguk5qI0fop8rgGgrSqipq7IZHJ2QXqvo901ZC1v7Rp7AHAr6DmYsv+Tz8n4jhM0hIe64YWmxaAbFxPPAixwz5q6rZ3wG0nTZ9doxH2mD1t8AvLxFV1ZX5GulFR05jy3pHsHrchNI6KbM0A4OHouztlcFtxcG2Snjrmu6TTtNItduOV+Xap2Sg5YhZ72LMpY9AuAttW6mveB3Dgkr26SbMLY8xKicpCVG4rY2Zwe2KIjaoWtxRDFOQyC4G9EqKSga+981ND6JUkBxKm0mtSkW09DN6Q1c6u9U82iXt4XXoTA652gC3gAMQOu5sfLvTJNFseLj47kM047allkluecbJBxFlM1wWuqdXMDhfs9ypp9XiDyR7wveVhuD/qyrdZ3pAHtCIp6p7PQkkZ1Ne633SSPJddox7Uz5O4cE/Ei9mDhPmiyh1hqBlMHfbjafw7JR0WuFQM2wu++z2uVBuncQnsHV5IXBk9TSs10kHpQNP2ZvfH7VPHrvzgf3PjPrIWXZ4JxPYV1/gdl+JrW67D/Tzd26P/ACLn6dsBtuJ72vlFle37VZUSJgm+d/8AWfxBBa8gONuZrXa8t/083eYh/wAiik12PCnf/NIweq6zTpOtRl6J1viX8musv0YWD7UpPqjQkuttS4ZxN7Gud5l9vJVBKYQeRTIGUMm01UO9Kd4+wGM8w2/mq+d23/mFz/tvc/ycSFKIHHgu/IXHgmzpcwcO/IFBsLAC3JMe5WEWiHO96sKXVkuzBSPEU48xlQmzNEXyUsdA91rDNbmj1SA9JXMGjI48SB2n2BI8VJ+FB4MV4mY/Q+ocklnOBDb5kYX5XW3ptXWU7G7IBcb3PuVkI3Pitd8cfAtFnOPV9QdeZ6lEHF1rm+A+OpRk3LWTDGy8KL3Q2kQymDTmNrH+Y5hUml6/bv8AA/suS3DQBgRfzPH48clVVLyc8D8fHuyU899xo00tfMr31L43lzCWnjbI9oyd349atNH6zNcfnfm3fWHon7V/R77jrVZO08fj4+LZoCaDiPj4+LqyaaFlE9CZOSARskcCCcfI+tdXmzZHDAEjqBcPIYJLtBLMcXJhSSWpmVDOKlYUkkoQuE4H44KSA4lJJKOg2MqXdg48eYwKSSDKokj2rcHAdx9x8kmvY/C2I4EfASSQcU1cKbUrEMuh2HhZCyauDgkkouETQpyXMgOgu9QS6EI4epJJSnBR2KRm3uDnRoHBL82NXUll4klzNKirHfzQEM7Rjd9a36sH+shJJNGpLXUWcI6E40W1OGib5AeSSSnxZ+Y3DiPZobq9SIj0A7kPFJJUpylN6sSaUVogqLV7mQjItXWjNJJaVSiZnVkGQ6LjbwT5qhjLDicgBn7EklaMIrYjOTtcY/bPJg+8fcPNOp4ADfM8ziUkkzFRqJB/hh2rPUoy7kklAMS5NAHAWtc4d5F7dWHcePNVdTo4Y9hPcMCe7x5EjBJJZpaDwkyrn0fb1W6ziBy9nYq2akPDrPhn8eZXUk8Wy1roCcwcQkkktJE//9k="/>
          <p:cNvSpPr>
            <a:spLocks noChangeAspect="1" noChangeArrowheads="1"/>
          </p:cNvSpPr>
          <p:nvPr/>
        </p:nvSpPr>
        <p:spPr bwMode="auto">
          <a:xfrm>
            <a:off x="143609" y="-691885"/>
            <a:ext cx="2417885" cy="1452563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bout</a:t>
            </a:r>
            <a:r>
              <a:rPr lang="sv-SE" dirty="0" smtClean="0"/>
              <a:t> M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pic>
        <p:nvPicPr>
          <p:cNvPr id="49154" name="Picture 2" descr="https://encrypted-tbn1.google.com/images?q=tbn:ANd9GcRkYoQLlkwwp608ILXgFU9Rk9KR_Ez_-A75i2_DeD0H8wJyyrHsoQ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1057300"/>
            <a:ext cx="2462417" cy="1680187"/>
          </a:xfrm>
          <a:prstGeom prst="rect">
            <a:avLst/>
          </a:prstGeom>
          <a:noFill/>
        </p:spPr>
      </p:pic>
      <p:pic>
        <p:nvPicPr>
          <p:cNvPr id="49156" name="Picture 4" descr="https://encrypted-tbn2.google.com/images?q=tbn:ANd9GcTLW9s6K6ujhxtl4i8Unz2FIqVCE8WKNu9LNKPmPG8G1P5ObioA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7397" y="3217541"/>
            <a:ext cx="1969477" cy="1778001"/>
          </a:xfrm>
          <a:prstGeom prst="rect">
            <a:avLst/>
          </a:prstGeom>
          <a:noFill/>
        </p:spPr>
      </p:pic>
      <p:pic>
        <p:nvPicPr>
          <p:cNvPr id="49160" name="Picture 8" descr="https://encrypted-tbn1.google.com/images?q=tbn:ANd9GcSJWMConLr9CMxpy7Q54BMVHyv6JDEoqraWYjR064cK0H_wKBE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334" y="1417340"/>
            <a:ext cx="1547446" cy="1357313"/>
          </a:xfrm>
          <a:prstGeom prst="rect">
            <a:avLst/>
          </a:prstGeom>
          <a:noFill/>
        </p:spPr>
      </p:pic>
      <p:sp>
        <p:nvSpPr>
          <p:cNvPr id="49162" name="AutoShape 10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9164" name="AutoShape 12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49166" name="Picture 14" descr="https://encrypted-tbn3.google.com/images?q=tbn:ANd9GcSB4CLcNYfzKTf_KjJ6x-I0VGHgpgSvgHWO7Q6ceOHg9MW-OL4v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15816" y="1921396"/>
            <a:ext cx="2747495" cy="1860207"/>
          </a:xfrm>
          <a:prstGeom prst="rect">
            <a:avLst/>
          </a:prstGeom>
          <a:noFill/>
        </p:spPr>
      </p:pic>
      <p:pic>
        <p:nvPicPr>
          <p:cNvPr id="49168" name="Picture 16" descr="http://a6.sphotos.ak.fbcdn.net/hphotos-ak-snc7/418684_101755656641637_1683199679_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45691" y="3157533"/>
            <a:ext cx="2769538" cy="18752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What</a:t>
            </a:r>
            <a:r>
              <a:rPr lang="sv-SE" dirty="0" smtClean="0"/>
              <a:t> is </a:t>
            </a:r>
            <a:r>
              <a:rPr lang="sv-SE" dirty="0" err="1" smtClean="0"/>
              <a:t>Legacy</a:t>
            </a:r>
            <a:r>
              <a:rPr lang="sv-SE" dirty="0" smtClean="0"/>
              <a:t> </a:t>
            </a:r>
            <a:r>
              <a:rPr lang="sv-SE" dirty="0" err="1" smtClean="0"/>
              <a:t>Code</a:t>
            </a:r>
            <a:r>
              <a:rPr lang="sv-SE" dirty="0" smtClean="0"/>
              <a:t>?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2000" dirty="0" smtClean="0"/>
              <a:t/>
            </a:r>
            <a:br>
              <a:rPr lang="sv-SE" sz="2000" dirty="0" smtClean="0"/>
            </a:br>
            <a:endParaRPr lang="sv-SE" sz="2000" dirty="0" smtClean="0"/>
          </a:p>
        </p:txBody>
      </p:sp>
      <p:sp>
        <p:nvSpPr>
          <p:cNvPr id="4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6" name="Picture 4" descr="https://encrypted-tbn0.gstatic.com/images?q=tbn:ANd9GcSman45mPDAAOEK4TUP63lH-EBUx9i9dybFvtvPDKTma5qay-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485156"/>
            <a:ext cx="4248472" cy="273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farm4.staticflickr.com/3269/5704123809_7913aed24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7412" y="1485156"/>
            <a:ext cx="4101094" cy="273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49128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Legacy</a:t>
            </a:r>
            <a:r>
              <a:rPr lang="sv-SE" dirty="0" smtClean="0"/>
              <a:t> </a:t>
            </a:r>
            <a:r>
              <a:rPr lang="sv-SE" dirty="0" err="1" smtClean="0"/>
              <a:t>Cod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 smtClean="0"/>
          </a:p>
          <a:p>
            <a:pPr algn="ctr">
              <a:buNone/>
            </a:pPr>
            <a:endParaRPr lang="sv-SE" sz="3200" dirty="0" smtClean="0"/>
          </a:p>
          <a:p>
            <a:pPr algn="ctr">
              <a:buNone/>
            </a:pPr>
            <a:r>
              <a:rPr lang="sv-SE" sz="3200" dirty="0" err="1" smtClean="0"/>
              <a:t>Legacy</a:t>
            </a:r>
            <a:r>
              <a:rPr lang="sv-SE" sz="3200" dirty="0" smtClean="0"/>
              <a:t> </a:t>
            </a:r>
            <a:r>
              <a:rPr lang="sv-SE" sz="3200" dirty="0" err="1" smtClean="0"/>
              <a:t>Code</a:t>
            </a:r>
            <a:r>
              <a:rPr lang="sv-SE" sz="3200" dirty="0" smtClean="0"/>
              <a:t> is </a:t>
            </a:r>
            <a:r>
              <a:rPr lang="sv-SE" sz="3200" dirty="0" err="1" smtClean="0"/>
              <a:t>Simply</a:t>
            </a:r>
            <a:r>
              <a:rPr lang="sv-SE" sz="3200" dirty="0" smtClean="0"/>
              <a:t> </a:t>
            </a:r>
            <a:r>
              <a:rPr lang="sv-SE" sz="3200" dirty="0" err="1" smtClean="0"/>
              <a:t>Code</a:t>
            </a:r>
            <a:r>
              <a:rPr lang="sv-SE" sz="3200" dirty="0" smtClean="0"/>
              <a:t> </a:t>
            </a:r>
            <a:r>
              <a:rPr lang="sv-SE" sz="3200" dirty="0" err="1" smtClean="0"/>
              <a:t>Without</a:t>
            </a:r>
            <a:r>
              <a:rPr lang="sv-SE" sz="3200" dirty="0" smtClean="0"/>
              <a:t> Tests!</a:t>
            </a:r>
          </a:p>
          <a:p>
            <a:pPr algn="ctr">
              <a:buNone/>
            </a:pPr>
            <a:endParaRPr lang="sv-SE" sz="3200" dirty="0" smtClean="0"/>
          </a:p>
          <a:p>
            <a:pPr algn="ctr">
              <a:buNone/>
            </a:pPr>
            <a:endParaRPr lang="sv-SE" sz="3200" dirty="0" smtClean="0"/>
          </a:p>
          <a:p>
            <a:pPr algn="ctr">
              <a:buNone/>
            </a:pPr>
            <a:endParaRPr lang="sv-SE" sz="1600" dirty="0" smtClean="0"/>
          </a:p>
          <a:p>
            <a:pPr algn="ctr">
              <a:buNone/>
            </a:pPr>
            <a:endParaRPr lang="sv-SE" sz="1600" dirty="0"/>
          </a:p>
          <a:p>
            <a:pPr algn="ctr">
              <a:buNone/>
            </a:pPr>
            <a:r>
              <a:rPr lang="sv-SE" sz="1600" dirty="0" smtClean="0"/>
              <a:t>(do </a:t>
            </a:r>
            <a:r>
              <a:rPr lang="sv-SE" sz="1600" dirty="0" err="1" smtClean="0"/>
              <a:t>you</a:t>
            </a:r>
            <a:r>
              <a:rPr lang="sv-SE" sz="1600" dirty="0" smtClean="0"/>
              <a:t> </a:t>
            </a:r>
            <a:r>
              <a:rPr lang="sv-SE" sz="1600" dirty="0" err="1" smtClean="0"/>
              <a:t>write</a:t>
            </a:r>
            <a:r>
              <a:rPr lang="sv-SE" sz="1600" dirty="0" smtClean="0"/>
              <a:t> </a:t>
            </a:r>
            <a:r>
              <a:rPr lang="sv-SE" sz="1600" dirty="0" err="1" smtClean="0"/>
              <a:t>legacy</a:t>
            </a:r>
            <a:r>
              <a:rPr lang="sv-SE" sz="1600" dirty="0" smtClean="0"/>
              <a:t> </a:t>
            </a:r>
            <a:r>
              <a:rPr lang="sv-SE" sz="1600" dirty="0" err="1" smtClean="0"/>
              <a:t>code</a:t>
            </a:r>
            <a:r>
              <a:rPr lang="sv-SE" sz="1600" dirty="0" smtClean="0"/>
              <a:t>?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Refactoring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5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  <p:pic>
        <p:nvPicPr>
          <p:cNvPr id="1026" name="Picture 2" descr="http://martinfowler.com/books/refactoringBook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417340"/>
            <a:ext cx="1944216" cy="2484708"/>
          </a:xfrm>
          <a:prstGeom prst="rect">
            <a:avLst/>
          </a:prstGeom>
          <a:noFill/>
        </p:spPr>
      </p:pic>
      <p:pic>
        <p:nvPicPr>
          <p:cNvPr id="1028" name="Picture 4" descr="http://ecx.images-amazon.com/images/I/51HXj9-4z6L._BO2,204,203,200_PIsitb-sticker-arrow-click,TopRight,35,-76_SX225_SY300_CR,0,0,225,300_SH20_OU01_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896" y="1201316"/>
            <a:ext cx="1998221" cy="2664296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/>
        </p:nvSpPr>
        <p:spPr>
          <a:xfrm>
            <a:off x="5940152" y="2137420"/>
            <a:ext cx="28083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dirty="0" smtClean="0"/>
              <a:t>Sandro </a:t>
            </a:r>
            <a:r>
              <a:rPr lang="sv-SE" dirty="0" err="1" smtClean="0"/>
              <a:t>Mancuso</a:t>
            </a:r>
            <a:r>
              <a:rPr lang="sv-SE" dirty="0" smtClean="0"/>
              <a:t>  http://craftedsw.blogspot.com</a:t>
            </a:r>
            <a:endParaRPr lang="sv-SE" dirty="0"/>
          </a:p>
        </p:txBody>
      </p:sp>
      <p:sp>
        <p:nvSpPr>
          <p:cNvPr id="3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Refactoring</a:t>
            </a:r>
            <a:r>
              <a:rPr lang="sv-SE" dirty="0" smtClean="0"/>
              <a:t> </a:t>
            </a:r>
            <a:r>
              <a:rPr lang="sv-SE" dirty="0" err="1" smtClean="0"/>
              <a:t>Legacy</a:t>
            </a:r>
            <a:r>
              <a:rPr lang="sv-SE" dirty="0" smtClean="0"/>
              <a:t> </a:t>
            </a:r>
            <a:r>
              <a:rPr lang="sv-SE" dirty="0" err="1" smtClean="0"/>
              <a:t>Cod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Have</a:t>
            </a:r>
            <a:r>
              <a:rPr lang="sv-SE" dirty="0" smtClean="0"/>
              <a:t> a </a:t>
            </a:r>
            <a:r>
              <a:rPr lang="sv-SE" dirty="0" err="1" smtClean="0"/>
              <a:t>clear</a:t>
            </a:r>
            <a:r>
              <a:rPr lang="sv-SE" dirty="0" smtClean="0"/>
              <a:t> </a:t>
            </a:r>
            <a:r>
              <a:rPr lang="sv-SE" dirty="0" err="1" smtClean="0"/>
              <a:t>goal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otherwise</a:t>
            </a:r>
            <a:r>
              <a:rPr lang="sv-SE" i="1" dirty="0" smtClean="0"/>
              <a:t> you </a:t>
            </a:r>
            <a:r>
              <a:rPr lang="sv-SE" i="1" dirty="0" err="1" smtClean="0"/>
              <a:t>could</a:t>
            </a:r>
            <a:r>
              <a:rPr lang="sv-SE" i="1" dirty="0" smtClean="0"/>
              <a:t> </a:t>
            </a:r>
            <a:r>
              <a:rPr lang="sv-SE" i="1" dirty="0" err="1" smtClean="0"/>
              <a:t>end</a:t>
            </a:r>
            <a:r>
              <a:rPr lang="sv-SE" i="1" dirty="0" smtClean="0"/>
              <a:t> up just </a:t>
            </a:r>
            <a:r>
              <a:rPr lang="sv-SE" i="1" dirty="0" err="1" smtClean="0"/>
              <a:t>moving</a:t>
            </a:r>
            <a:r>
              <a:rPr lang="sv-SE" i="1" dirty="0" smtClean="0"/>
              <a:t> </a:t>
            </a:r>
            <a:r>
              <a:rPr lang="sv-SE" i="1" dirty="0" err="1" smtClean="0"/>
              <a:t>around</a:t>
            </a:r>
            <a:r>
              <a:rPr lang="sv-SE" i="1" dirty="0" smtClean="0"/>
              <a:t> </a:t>
            </a:r>
            <a:r>
              <a:rPr lang="sv-SE" i="1" dirty="0" err="1" smtClean="0"/>
              <a:t>code</a:t>
            </a:r>
            <a:r>
              <a:rPr lang="sv-SE" i="1" dirty="0" smtClean="0"/>
              <a:t> and not </a:t>
            </a:r>
            <a:r>
              <a:rPr lang="sv-SE" i="1" dirty="0" err="1" smtClean="0"/>
              <a:t>making</a:t>
            </a:r>
            <a:r>
              <a:rPr lang="sv-SE" i="1" dirty="0" smtClean="0"/>
              <a:t> </a:t>
            </a:r>
            <a:r>
              <a:rPr lang="sv-SE" i="1" dirty="0" err="1" smtClean="0"/>
              <a:t>things</a:t>
            </a:r>
            <a:r>
              <a:rPr lang="sv-SE" i="1" dirty="0" smtClean="0"/>
              <a:t> </a:t>
            </a:r>
            <a:r>
              <a:rPr lang="sv-SE" i="1" dirty="0" err="1" smtClean="0"/>
              <a:t>any</a:t>
            </a:r>
            <a:r>
              <a:rPr lang="sv-SE" i="1" dirty="0" smtClean="0"/>
              <a:t> </a:t>
            </a:r>
            <a:r>
              <a:rPr lang="sv-SE" i="1" dirty="0" err="1" smtClean="0"/>
              <a:t>better</a:t>
            </a:r>
            <a:endParaRPr lang="sv-SE" i="1" dirty="0" smtClean="0"/>
          </a:p>
          <a:p>
            <a:endParaRPr lang="sv-SE" dirty="0" smtClean="0"/>
          </a:p>
          <a:p>
            <a:r>
              <a:rPr lang="sv-SE" dirty="0" err="1" smtClean="0"/>
              <a:t>Specify</a:t>
            </a:r>
            <a:r>
              <a:rPr lang="sv-SE" dirty="0" smtClean="0"/>
              <a:t>, </a:t>
            </a:r>
            <a:r>
              <a:rPr lang="sv-SE" dirty="0" err="1" smtClean="0"/>
              <a:t>don’t</a:t>
            </a:r>
            <a:r>
              <a:rPr lang="sv-SE" dirty="0" smtClean="0"/>
              <a:t> </a:t>
            </a:r>
            <a:r>
              <a:rPr lang="sv-SE" dirty="0" err="1" smtClean="0"/>
              <a:t>verify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aim</a:t>
            </a:r>
            <a:r>
              <a:rPr lang="sv-SE" i="1" dirty="0" smtClean="0"/>
              <a:t> is not to test </a:t>
            </a:r>
            <a:r>
              <a:rPr lang="sv-SE" i="1" dirty="0" err="1" smtClean="0"/>
              <a:t>code</a:t>
            </a:r>
            <a:r>
              <a:rPr lang="sv-SE" i="1" dirty="0" smtClean="0"/>
              <a:t>, </a:t>
            </a:r>
            <a:r>
              <a:rPr lang="sv-SE" i="1" dirty="0" err="1" smtClean="0"/>
              <a:t>but</a:t>
            </a:r>
            <a:r>
              <a:rPr lang="sv-SE" i="1" dirty="0" smtClean="0"/>
              <a:t> to </a:t>
            </a:r>
            <a:r>
              <a:rPr lang="sv-SE" i="1" dirty="0" err="1" smtClean="0"/>
              <a:t>produce</a:t>
            </a:r>
            <a:r>
              <a:rPr lang="sv-SE" i="1" dirty="0" smtClean="0"/>
              <a:t> </a:t>
            </a:r>
            <a:r>
              <a:rPr lang="sv-SE" i="1" dirty="0" err="1" smtClean="0"/>
              <a:t>artifacts</a:t>
            </a:r>
            <a:r>
              <a:rPr lang="sv-SE" i="1" dirty="0" smtClean="0"/>
              <a:t> that </a:t>
            </a:r>
            <a:r>
              <a:rPr lang="sv-SE" i="1" dirty="0" err="1" smtClean="0"/>
              <a:t>describes</a:t>
            </a:r>
            <a:r>
              <a:rPr lang="sv-SE" i="1" dirty="0" smtClean="0"/>
              <a:t> </a:t>
            </a:r>
            <a:r>
              <a:rPr lang="sv-SE" i="1" dirty="0" err="1" smtClean="0"/>
              <a:t>its</a:t>
            </a:r>
            <a:r>
              <a:rPr lang="sv-SE" i="1" dirty="0" smtClean="0"/>
              <a:t> </a:t>
            </a:r>
            <a:r>
              <a:rPr lang="sv-SE" i="1" dirty="0" err="1" smtClean="0"/>
              <a:t>behaviour</a:t>
            </a:r>
            <a:r>
              <a:rPr lang="sv-SE" i="1" dirty="0" smtClean="0"/>
              <a:t> (</a:t>
            </a:r>
            <a:r>
              <a:rPr lang="sv-SE" i="1" dirty="0" err="1" smtClean="0"/>
              <a:t>characterization</a:t>
            </a:r>
            <a:r>
              <a:rPr lang="sv-SE" i="1" dirty="0" smtClean="0"/>
              <a:t> tests)</a:t>
            </a:r>
          </a:p>
          <a:p>
            <a:endParaRPr lang="sv-SE" dirty="0" smtClean="0"/>
          </a:p>
          <a:p>
            <a:pPr>
              <a:buNone/>
            </a:pPr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6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Business </a:t>
            </a:r>
            <a:r>
              <a:rPr lang="sv-SE" dirty="0" err="1" smtClean="0"/>
              <a:t>Component</a:t>
            </a:r>
            <a:r>
              <a:rPr lang="sv-SE" dirty="0" smtClean="0"/>
              <a:t> </a:t>
            </a:r>
            <a:r>
              <a:rPr lang="sv-SE" dirty="0" err="1" smtClean="0"/>
              <a:t>We</a:t>
            </a:r>
            <a:r>
              <a:rPr lang="sv-SE" dirty="0" smtClean="0"/>
              <a:t> </a:t>
            </a:r>
            <a:r>
              <a:rPr lang="sv-SE" dirty="0" err="1" smtClean="0"/>
              <a:t>Want</a:t>
            </a:r>
            <a:r>
              <a:rPr lang="sv-SE" dirty="0" smtClean="0"/>
              <a:t> to Chang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sv-SE" dirty="0" smtClean="0"/>
          </a:p>
          <a:p>
            <a:pPr>
              <a:buNone/>
            </a:pPr>
            <a:r>
              <a:rPr lang="sv-SE" dirty="0" err="1" smtClean="0"/>
              <a:t>TweetService.java</a:t>
            </a:r>
            <a:r>
              <a:rPr lang="sv-SE" dirty="0" smtClean="0"/>
              <a:t> </a:t>
            </a:r>
            <a:br>
              <a:rPr lang="sv-SE" dirty="0" smtClean="0"/>
            </a:br>
            <a:r>
              <a:rPr lang="sv-SE" dirty="0" smtClean="0"/>
              <a:t>–  a service </a:t>
            </a:r>
            <a:r>
              <a:rPr lang="sv-SE" dirty="0" err="1" smtClean="0"/>
              <a:t>responsible</a:t>
            </a:r>
            <a:r>
              <a:rPr lang="sv-SE" dirty="0" smtClean="0"/>
              <a:t> for finding </a:t>
            </a:r>
            <a:r>
              <a:rPr lang="sv-SE" dirty="0" err="1" smtClean="0"/>
              <a:t>tweets</a:t>
            </a:r>
            <a:r>
              <a:rPr lang="sv-SE" dirty="0" smtClean="0"/>
              <a:t> by a </a:t>
            </a:r>
            <a:r>
              <a:rPr lang="sv-SE" dirty="0" err="1" smtClean="0"/>
              <a:t>specific</a:t>
            </a:r>
            <a:r>
              <a:rPr lang="sv-SE" dirty="0" smtClean="0"/>
              <a:t> </a:t>
            </a:r>
            <a:r>
              <a:rPr lang="sv-SE" dirty="0" err="1" smtClean="0"/>
              <a:t>user</a:t>
            </a:r>
            <a:endParaRPr lang="sv-SE" dirty="0" smtClean="0"/>
          </a:p>
          <a:p>
            <a:pPr>
              <a:buNone/>
            </a:pPr>
            <a:endParaRPr lang="sv-SE" dirty="0" smtClean="0"/>
          </a:p>
          <a:p>
            <a:r>
              <a:rPr lang="sv-SE" dirty="0" err="1" smtClean="0"/>
              <a:t>Need</a:t>
            </a:r>
            <a:r>
              <a:rPr lang="sv-SE" dirty="0" smtClean="0"/>
              <a:t> to be </a:t>
            </a:r>
            <a:r>
              <a:rPr lang="sv-SE" dirty="0" err="1" smtClean="0"/>
              <a:t>logged</a:t>
            </a:r>
            <a:r>
              <a:rPr lang="sv-SE" dirty="0" smtClean="0"/>
              <a:t> in to </a:t>
            </a:r>
            <a:r>
              <a:rPr lang="sv-SE" dirty="0" err="1" smtClean="0"/>
              <a:t>see</a:t>
            </a:r>
            <a:r>
              <a:rPr lang="sv-SE" dirty="0" smtClean="0"/>
              <a:t> </a:t>
            </a:r>
            <a:r>
              <a:rPr lang="sv-SE" dirty="0" err="1" smtClean="0"/>
              <a:t>tweets</a:t>
            </a:r>
            <a:r>
              <a:rPr lang="sv-SE" dirty="0" smtClean="0"/>
              <a:t> by a </a:t>
            </a:r>
            <a:r>
              <a:rPr lang="sv-SE" dirty="0" err="1" smtClean="0"/>
              <a:t>particular</a:t>
            </a:r>
            <a:r>
              <a:rPr lang="sv-SE" dirty="0" smtClean="0"/>
              <a:t> </a:t>
            </a:r>
            <a:r>
              <a:rPr lang="sv-SE" dirty="0" err="1" smtClean="0"/>
              <a:t>user</a:t>
            </a:r>
            <a:endParaRPr lang="sv-SE" dirty="0" smtClean="0"/>
          </a:p>
          <a:p>
            <a:r>
              <a:rPr lang="sv-SE" dirty="0" err="1" smtClean="0"/>
              <a:t>Need</a:t>
            </a:r>
            <a:r>
              <a:rPr lang="sv-SE" dirty="0" smtClean="0"/>
              <a:t> to be friends to </a:t>
            </a:r>
            <a:r>
              <a:rPr lang="sv-SE" dirty="0" err="1" smtClean="0"/>
              <a:t>see</a:t>
            </a:r>
            <a:r>
              <a:rPr lang="sv-SE" dirty="0" smtClean="0"/>
              <a:t> </a:t>
            </a:r>
            <a:r>
              <a:rPr lang="sv-SE" dirty="0" err="1" smtClean="0"/>
              <a:t>someone</a:t>
            </a:r>
            <a:r>
              <a:rPr lang="sv-SE" dirty="0" smtClean="0"/>
              <a:t> </a:t>
            </a:r>
            <a:r>
              <a:rPr lang="sv-SE" dirty="0" err="1" smtClean="0"/>
              <a:t>else’s</a:t>
            </a:r>
            <a:r>
              <a:rPr lang="sv-SE" dirty="0" smtClean="0"/>
              <a:t> </a:t>
            </a:r>
            <a:r>
              <a:rPr lang="sv-SE" dirty="0" err="1" smtClean="0"/>
              <a:t>tweets</a:t>
            </a:r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ip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Use</a:t>
            </a:r>
            <a:r>
              <a:rPr lang="sv-SE" dirty="0" smtClean="0"/>
              <a:t> a </a:t>
            </a:r>
            <a:r>
              <a:rPr lang="sv-SE" dirty="0" err="1" smtClean="0"/>
              <a:t>code</a:t>
            </a:r>
            <a:r>
              <a:rPr lang="sv-SE" dirty="0" smtClean="0"/>
              <a:t> </a:t>
            </a:r>
            <a:r>
              <a:rPr lang="sv-SE" dirty="0" err="1" smtClean="0"/>
              <a:t>coverage</a:t>
            </a:r>
            <a:r>
              <a:rPr lang="sv-SE" dirty="0" smtClean="0"/>
              <a:t> </a:t>
            </a:r>
            <a:r>
              <a:rPr lang="sv-SE" dirty="0" err="1" smtClean="0"/>
              <a:t>tool</a:t>
            </a:r>
            <a:endParaRPr lang="sv-SE" dirty="0" smtClean="0"/>
          </a:p>
          <a:p>
            <a:endParaRPr lang="sv-SE" dirty="0" smtClean="0"/>
          </a:p>
          <a:p>
            <a:r>
              <a:rPr lang="sv-SE" dirty="0" err="1" smtClean="0"/>
              <a:t>Commit</a:t>
            </a:r>
            <a:r>
              <a:rPr lang="sv-SE" dirty="0" smtClean="0"/>
              <a:t> </a:t>
            </a:r>
            <a:r>
              <a:rPr lang="sv-SE" dirty="0" err="1" smtClean="0"/>
              <a:t>often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enables</a:t>
            </a:r>
            <a:r>
              <a:rPr lang="sv-SE" i="1" dirty="0" smtClean="0"/>
              <a:t> you to </a:t>
            </a:r>
            <a:r>
              <a:rPr lang="sv-SE" i="1" dirty="0" err="1" smtClean="0"/>
              <a:t>commit</a:t>
            </a:r>
            <a:r>
              <a:rPr lang="sv-SE" i="1" dirty="0" smtClean="0"/>
              <a:t> </a:t>
            </a:r>
            <a:r>
              <a:rPr lang="sv-SE" i="1" dirty="0" err="1" smtClean="0"/>
              <a:t>improvements</a:t>
            </a:r>
            <a:r>
              <a:rPr lang="sv-SE" i="1" dirty="0" smtClean="0"/>
              <a:t> </a:t>
            </a:r>
            <a:r>
              <a:rPr lang="sv-SE" i="1" dirty="0" err="1" smtClean="0"/>
              <a:t>quickly</a:t>
            </a:r>
            <a:r>
              <a:rPr lang="sv-SE" i="1" dirty="0" smtClean="0"/>
              <a:t/>
            </a:r>
            <a:br>
              <a:rPr lang="sv-SE" i="1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allows</a:t>
            </a:r>
            <a:r>
              <a:rPr lang="sv-SE" i="1" dirty="0" smtClean="0"/>
              <a:t> you to rollback </a:t>
            </a:r>
            <a:r>
              <a:rPr lang="sv-SE" i="1" dirty="0" err="1" smtClean="0"/>
              <a:t>if</a:t>
            </a:r>
            <a:r>
              <a:rPr lang="sv-SE" i="1" dirty="0" smtClean="0"/>
              <a:t> you make a </a:t>
            </a:r>
            <a:r>
              <a:rPr lang="sv-SE" i="1" dirty="0" err="1" smtClean="0"/>
              <a:t>mistake</a:t>
            </a:r>
            <a:r>
              <a:rPr lang="sv-SE" i="1" dirty="0" smtClean="0"/>
              <a:t/>
            </a:r>
            <a:br>
              <a:rPr lang="sv-SE" i="1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remember</a:t>
            </a:r>
            <a:r>
              <a:rPr lang="sv-SE" i="1" dirty="0" smtClean="0"/>
              <a:t>, </a:t>
            </a:r>
            <a:r>
              <a:rPr lang="sv-SE" i="1" dirty="0" err="1" smtClean="0"/>
              <a:t>refactoring</a:t>
            </a:r>
            <a:r>
              <a:rPr lang="sv-SE" i="1" dirty="0" smtClean="0"/>
              <a:t> </a:t>
            </a:r>
            <a:r>
              <a:rPr lang="sv-SE" i="1" dirty="0" err="1" smtClean="0"/>
              <a:t>should</a:t>
            </a:r>
            <a:r>
              <a:rPr lang="sv-SE" i="1" dirty="0" smtClean="0"/>
              <a:t> be </a:t>
            </a:r>
            <a:r>
              <a:rPr lang="sv-SE" i="1" dirty="0" err="1" smtClean="0"/>
              <a:t>done</a:t>
            </a:r>
            <a:r>
              <a:rPr lang="sv-SE" i="1" dirty="0" smtClean="0"/>
              <a:t> in small steps!</a:t>
            </a:r>
          </a:p>
          <a:p>
            <a:endParaRPr lang="sv-SE" dirty="0" smtClean="0"/>
          </a:p>
          <a:p>
            <a:r>
              <a:rPr lang="sv-SE" dirty="0" err="1" smtClean="0"/>
              <a:t>Identify</a:t>
            </a:r>
            <a:r>
              <a:rPr lang="sv-SE" dirty="0" smtClean="0"/>
              <a:t> </a:t>
            </a:r>
            <a:r>
              <a:rPr lang="sv-SE" dirty="0" err="1" smtClean="0"/>
              <a:t>Seams</a:t>
            </a:r>
            <a:r>
              <a:rPr lang="sv-SE" i="1" dirty="0" smtClean="0"/>
              <a:t/>
            </a:r>
            <a:br>
              <a:rPr lang="sv-SE" i="1" dirty="0" smtClean="0"/>
            </a:br>
            <a:r>
              <a:rPr lang="sv-SE" i="1" dirty="0" smtClean="0"/>
              <a:t>- parts </a:t>
            </a:r>
            <a:r>
              <a:rPr lang="sv-SE" i="1" dirty="0" err="1" smtClean="0"/>
              <a:t>where</a:t>
            </a:r>
            <a:r>
              <a:rPr lang="sv-SE" i="1" dirty="0" smtClean="0"/>
              <a:t> </a:t>
            </a:r>
            <a:r>
              <a:rPr lang="sv-SE" i="1" dirty="0" err="1" smtClean="0"/>
              <a:t>you</a:t>
            </a:r>
            <a:r>
              <a:rPr lang="sv-SE" i="1" dirty="0" smtClean="0"/>
              <a:t> </a:t>
            </a:r>
            <a:r>
              <a:rPr lang="sv-SE" i="1" dirty="0" err="1" smtClean="0"/>
              <a:t>can</a:t>
            </a:r>
            <a:r>
              <a:rPr lang="sv-SE" i="1" dirty="0" smtClean="0"/>
              <a:t> </a:t>
            </a:r>
            <a:r>
              <a:rPr lang="sv-SE" i="1" dirty="0" err="1" smtClean="0"/>
              <a:t>modify</a:t>
            </a:r>
            <a:r>
              <a:rPr lang="sv-SE" i="1" dirty="0" smtClean="0"/>
              <a:t> </a:t>
            </a:r>
            <a:r>
              <a:rPr lang="sv-SE" i="1" dirty="0" err="1" smtClean="0"/>
              <a:t>behaviour</a:t>
            </a:r>
            <a:r>
              <a:rPr lang="sv-SE" i="1" dirty="0" smtClean="0"/>
              <a:t> </a:t>
            </a:r>
            <a:r>
              <a:rPr lang="sv-SE" i="1" dirty="0" err="1" smtClean="0"/>
              <a:t>without</a:t>
            </a:r>
            <a:r>
              <a:rPr lang="sv-SE" i="1" dirty="0" smtClean="0"/>
              <a:t> </a:t>
            </a:r>
            <a:r>
              <a:rPr lang="sv-SE" i="1" dirty="0" err="1" smtClean="0"/>
              <a:t>editing</a:t>
            </a:r>
            <a:r>
              <a:rPr lang="sv-SE" i="1" dirty="0" smtClean="0"/>
              <a:t> that </a:t>
            </a:r>
            <a:r>
              <a:rPr lang="sv-SE" i="1" dirty="0" err="1" smtClean="0"/>
              <a:t>place</a:t>
            </a:r>
            <a:r>
              <a:rPr lang="sv-SE" i="1" dirty="0" smtClean="0"/>
              <a:t/>
            </a:r>
            <a:br>
              <a:rPr lang="sv-SE" i="1" dirty="0" smtClean="0"/>
            </a:br>
            <a:r>
              <a:rPr lang="sv-SE" i="1" dirty="0" smtClean="0"/>
              <a:t>- </a:t>
            </a:r>
            <a:r>
              <a:rPr lang="sv-SE" i="1" dirty="0" err="1" smtClean="0"/>
              <a:t>use</a:t>
            </a:r>
            <a:r>
              <a:rPr lang="sv-SE" i="1" dirty="0" smtClean="0"/>
              <a:t> </a:t>
            </a:r>
            <a:r>
              <a:rPr lang="sv-SE" i="1" dirty="0" err="1" smtClean="0"/>
              <a:t>known</a:t>
            </a:r>
            <a:r>
              <a:rPr lang="sv-SE" i="1" dirty="0" smtClean="0"/>
              <a:t> </a:t>
            </a:r>
            <a:r>
              <a:rPr lang="sv-SE" i="1" dirty="0" err="1" smtClean="0"/>
              <a:t>dependency</a:t>
            </a:r>
            <a:r>
              <a:rPr lang="sv-SE" i="1" dirty="0" smtClean="0"/>
              <a:t> </a:t>
            </a:r>
            <a:r>
              <a:rPr lang="sv-SE" i="1" dirty="0" err="1" smtClean="0"/>
              <a:t>breaking</a:t>
            </a:r>
            <a:r>
              <a:rPr lang="sv-SE" i="1" dirty="0" smtClean="0"/>
              <a:t> </a:t>
            </a:r>
            <a:r>
              <a:rPr lang="sv-SE" i="1" dirty="0" err="1" smtClean="0"/>
              <a:t>techniques</a:t>
            </a:r>
            <a:r>
              <a:rPr lang="sv-SE" i="1" dirty="0" smtClean="0"/>
              <a:t> to </a:t>
            </a:r>
            <a:r>
              <a:rPr lang="sv-SE" i="1" dirty="0" err="1" smtClean="0"/>
              <a:t>create</a:t>
            </a:r>
            <a:r>
              <a:rPr lang="sv-SE" i="1" dirty="0" smtClean="0"/>
              <a:t> </a:t>
            </a:r>
            <a:r>
              <a:rPr lang="sv-SE" i="1" dirty="0" err="1" smtClean="0"/>
              <a:t>seams</a:t>
            </a:r>
            <a:endParaRPr lang="sv-SE" i="1" dirty="0" smtClean="0"/>
          </a:p>
          <a:p>
            <a:endParaRPr lang="sv-SE" dirty="0" smtClean="0"/>
          </a:p>
          <a:p>
            <a:r>
              <a:rPr lang="sv-SE" dirty="0" err="1" smtClean="0"/>
              <a:t>Stay</a:t>
            </a:r>
            <a:r>
              <a:rPr lang="sv-SE" dirty="0" smtClean="0"/>
              <a:t> in the ’green-</a:t>
            </a:r>
            <a:r>
              <a:rPr lang="sv-SE" dirty="0" err="1" smtClean="0"/>
              <a:t>zone</a:t>
            </a:r>
            <a:r>
              <a:rPr lang="sv-SE" dirty="0" smtClean="0"/>
              <a:t>’ as long as </a:t>
            </a:r>
            <a:r>
              <a:rPr lang="sv-SE" dirty="0" err="1" smtClean="0"/>
              <a:t>possible</a:t>
            </a:r>
            <a:endParaRPr lang="sv-SE" dirty="0" smtClean="0"/>
          </a:p>
          <a:p>
            <a:endParaRPr lang="sv-SE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ips (</a:t>
            </a:r>
            <a:r>
              <a:rPr lang="sv-SE" dirty="0" err="1" smtClean="0"/>
              <a:t>cont</a:t>
            </a:r>
            <a:r>
              <a:rPr lang="sv-SE" dirty="0" smtClean="0"/>
              <a:t>)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9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2 Capgemini. All rights reserved.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123728" y="2281436"/>
            <a:ext cx="489654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 (…) {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sv-SE" dirty="0" err="1" smtClean="0">
                <a:latin typeface="Courier New" pitchFamily="49" charset="0"/>
                <a:cs typeface="Courier New" pitchFamily="49" charset="0"/>
              </a:rPr>
              <a:t>boolean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sv-SE" dirty="0" err="1" smtClean="0">
                <a:latin typeface="Courier New" pitchFamily="49" charset="0"/>
                <a:cs typeface="Courier New" pitchFamily="49" charset="0"/>
              </a:rPr>
              <a:t>param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…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sv-SE" dirty="0" err="1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sv-SE" dirty="0" err="1" smtClean="0">
                <a:latin typeface="Courier New" pitchFamily="49" charset="0"/>
                <a:cs typeface="Courier New" pitchFamily="49" charset="0"/>
              </a:rPr>
              <a:t>param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) {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	</a:t>
            </a:r>
            <a:r>
              <a:rPr lang="sv-SE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sv-SE" dirty="0" err="1" smtClean="0">
                <a:latin typeface="Courier New" pitchFamily="49" charset="0"/>
                <a:cs typeface="Courier New" pitchFamily="49" charset="0"/>
              </a:rPr>
              <a:t>getStuff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()) {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	…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	}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}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} </a:t>
            </a:r>
            <a:r>
              <a:rPr lang="sv-SE" dirty="0" err="1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sv-SE" dirty="0" smtClean="0">
                <a:latin typeface="Courier New" pitchFamily="49" charset="0"/>
                <a:cs typeface="Courier New" pitchFamily="49" charset="0"/>
              </a:rPr>
              <a:t> {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	…</a:t>
            </a:r>
          </a:p>
          <a:p>
            <a:r>
              <a:rPr lang="sv-SE" dirty="0" smtClean="0">
                <a:latin typeface="Courier New" pitchFamily="49" charset="0"/>
                <a:cs typeface="Courier New" pitchFamily="49" charset="0"/>
              </a:rPr>
              <a:t>}</a:t>
            </a:r>
            <a:endParaRPr lang="sv-SE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504056" y="2713484"/>
            <a:ext cx="1403648" cy="1152128"/>
          </a:xfrm>
          <a:prstGeom prst="wedgeRectCallout">
            <a:avLst>
              <a:gd name="adj1" fmla="val 71455"/>
              <a:gd name="adj2" fmla="val 81515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dirty="0" smtClean="0"/>
              <a:t>Start testing from </a:t>
            </a:r>
            <a:r>
              <a:rPr lang="sv-SE" dirty="0" err="1" smtClean="0"/>
              <a:t>shortest</a:t>
            </a:r>
            <a:r>
              <a:rPr lang="sv-SE" dirty="0" smtClean="0"/>
              <a:t> to </a:t>
            </a:r>
            <a:r>
              <a:rPr lang="sv-SE" dirty="0" err="1" smtClean="0"/>
              <a:t>deepest</a:t>
            </a:r>
            <a:r>
              <a:rPr lang="sv-SE" dirty="0" smtClean="0"/>
              <a:t> </a:t>
            </a:r>
            <a:r>
              <a:rPr lang="sv-SE" dirty="0" err="1" smtClean="0"/>
              <a:t>branch</a:t>
            </a:r>
            <a:endParaRPr lang="sv-SE" dirty="0" smtClean="0"/>
          </a:p>
        </p:txBody>
      </p:sp>
      <p:sp>
        <p:nvSpPr>
          <p:cNvPr id="14" name="Rectangular Callout 13"/>
          <p:cNvSpPr/>
          <p:nvPr/>
        </p:nvSpPr>
        <p:spPr>
          <a:xfrm>
            <a:off x="6732240" y="1633364"/>
            <a:ext cx="1440160" cy="1296144"/>
          </a:xfrm>
          <a:prstGeom prst="wedgeRectCallout">
            <a:avLst>
              <a:gd name="adj1" fmla="val -113427"/>
              <a:gd name="adj2" fmla="val 79402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None/>
            </a:pPr>
            <a:r>
              <a:rPr lang="sv-SE" dirty="0" smtClean="0"/>
              <a:t>Start </a:t>
            </a:r>
            <a:r>
              <a:rPr lang="sv-SE" dirty="0" err="1" smtClean="0"/>
              <a:t>refactoring</a:t>
            </a:r>
            <a:r>
              <a:rPr lang="sv-SE" dirty="0" smtClean="0"/>
              <a:t> from </a:t>
            </a:r>
            <a:r>
              <a:rPr lang="sv-SE" dirty="0" err="1" smtClean="0"/>
              <a:t>deepest</a:t>
            </a:r>
            <a:r>
              <a:rPr lang="sv-SE" dirty="0" smtClean="0"/>
              <a:t> to </a:t>
            </a:r>
            <a:r>
              <a:rPr lang="sv-SE" dirty="0" err="1" smtClean="0"/>
              <a:t>shortest</a:t>
            </a:r>
            <a:r>
              <a:rPr lang="sv-SE" dirty="0" smtClean="0"/>
              <a:t> </a:t>
            </a:r>
            <a:r>
              <a:rPr lang="sv-SE" dirty="0" err="1" smtClean="0"/>
              <a:t>branch</a:t>
            </a:r>
            <a:endParaRPr lang="sv-S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Capgemini_A4-Template_TME_1_new[1]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Capgemini_A4-Template_TME_1_new[1]</Template>
  <TotalTime>15756</TotalTime>
  <Words>160</Words>
  <Application>Microsoft Office PowerPoint</Application>
  <PresentationFormat>On-screen Show (16:10)</PresentationFormat>
  <Paragraphs>71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ppt_Capgemini_A4-Template_TME_1_new[1]</vt:lpstr>
      <vt:lpstr>Custom Design</vt:lpstr>
      <vt:lpstr>Conception personnalisée</vt:lpstr>
      <vt:lpstr>Refactoring Legacy Code</vt:lpstr>
      <vt:lpstr>About Me</vt:lpstr>
      <vt:lpstr>What is Legacy Code?</vt:lpstr>
      <vt:lpstr>Legacy Code</vt:lpstr>
      <vt:lpstr>Refactoring</vt:lpstr>
      <vt:lpstr>Refactoring Legacy Code</vt:lpstr>
      <vt:lpstr>Business Component We Want to Change</vt:lpstr>
      <vt:lpstr>Tips</vt:lpstr>
      <vt:lpstr>Tips (cont)</vt:lpstr>
      <vt:lpstr>Q &amp; A</vt:lpstr>
      <vt:lpstr>Slide 1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Andreas Enbohm</dc:creator>
  <cp:lastModifiedBy>aenbohm</cp:lastModifiedBy>
  <cp:revision>699</cp:revision>
  <dcterms:created xsi:type="dcterms:W3CDTF">2012-06-15T15:21:08Z</dcterms:created>
  <dcterms:modified xsi:type="dcterms:W3CDTF">2013-09-02T07:07:53Z</dcterms:modified>
</cp:coreProperties>
</file>